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3" r:id="rId6"/>
  </p:sldMasterIdLst>
  <p:notesMasterIdLst>
    <p:notesMasterId r:id="rId15"/>
  </p:notesMasterIdLst>
  <p:sldIdLst>
    <p:sldId id="291" r:id="rId7"/>
    <p:sldId id="292" r:id="rId8"/>
    <p:sldId id="298" r:id="rId9"/>
    <p:sldId id="299" r:id="rId10"/>
    <p:sldId id="300" r:id="rId11"/>
    <p:sldId id="301" r:id="rId12"/>
    <p:sldId id="307" r:id="rId13"/>
    <p:sldId id="303" r:id="rId14"/>
  </p:sldIdLst>
  <p:sldSz cx="10688638" cy="7562850"/>
  <p:notesSz cx="6808788" cy="99409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1pPr>
    <a:lvl2pPr marL="520700" indent="-63500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2pPr>
    <a:lvl3pPr marL="1041400" indent="-127000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3pPr>
    <a:lvl4pPr marL="1563688" indent="-192088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4pPr>
    <a:lvl5pPr marL="2084388" indent="-255588" algn="l" rtl="0" eaLnBrk="0" fontAlgn="base" hangingPunct="0">
      <a:spcBef>
        <a:spcPct val="0"/>
      </a:spcBef>
      <a:spcAft>
        <a:spcPct val="0"/>
      </a:spcAft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2700" kern="1200">
        <a:solidFill>
          <a:schemeClr val="tx1"/>
        </a:solidFill>
        <a:latin typeface="Times" panose="02020603050405020304" pitchFamily="18" charset="0"/>
        <a:ea typeface="ヒラギノ角ゴ Pro W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0088"/>
    <a:srgbClr val="990099"/>
    <a:srgbClr val="84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CF6A15-8934-4963-8151-6AB78347B446}" v="45" dt="2024-07-03T19:59:58.1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3" autoAdjust="0"/>
    <p:restoredTop sz="94660"/>
  </p:normalViewPr>
  <p:slideViewPr>
    <p:cSldViewPr snapToGrid="0">
      <p:cViewPr>
        <p:scale>
          <a:sx n="71" d="100"/>
          <a:sy n="71" d="100"/>
        </p:scale>
        <p:origin x="728" y="-636"/>
      </p:cViewPr>
      <p:guideLst>
        <p:guide orient="horz" pos="2382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1" Type="http://schemas.openxmlformats.org/officeDocument/2006/relationships/slide" Target="slides/slide5.xml"/><Relationship Id="rId6" Type="http://schemas.openxmlformats.org/officeDocument/2006/relationships/slideMaster" Target="slideMasters/slideMaster1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EBBB2424-03A8-43FC-BEC3-6FB60681D58E}" type="datetimeFigureOut">
              <a:rPr lang="en-GB"/>
              <a:pPr>
                <a:defRPr/>
              </a:pPr>
              <a:t>02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5050" y="1243013"/>
            <a:ext cx="47386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A21D0E7E-34F0-4B52-A0C8-97100ADC3A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9998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1D3237C-7C0C-4249-9D70-FE239862C9F1}" type="slidenum">
              <a:rPr lang="en-GB" altLang="en-US" smtClean="0"/>
              <a:pPr/>
              <a:t>1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0455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9121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9061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1093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656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7481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617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1D0E7E-34F0-4B52-A0C8-97100ADC3ADB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754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Template landscape shadow_5_Page_4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760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5342" y="2268541"/>
            <a:ext cx="9085261" cy="1008062"/>
          </a:xfrm>
        </p:spPr>
        <p:txBody>
          <a:bodyPr anchor="t"/>
          <a:lstStyle>
            <a:lvl1pPr>
              <a:defRPr sz="484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01691" y="3276610"/>
            <a:ext cx="9072561" cy="1931988"/>
          </a:xfrm>
        </p:spPr>
        <p:txBody>
          <a:bodyPr/>
          <a:lstStyle>
            <a:lvl1pPr marL="0" indent="0" eaLnBrk="0" hangingPunct="0">
              <a:buFontTx/>
              <a:buNone/>
              <a:defRPr sz="2425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48102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483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50180" y="303267"/>
            <a:ext cx="2403475" cy="59261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994" y="303267"/>
            <a:ext cx="7062787" cy="59261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429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-107007"/>
            <a:ext cx="9802428" cy="1260476"/>
          </a:xfrm>
          <a:prstGeom prst="rect">
            <a:avLst/>
          </a:prstGeom>
        </p:spPr>
        <p:txBody>
          <a:bodyPr/>
          <a:lstStyle>
            <a:lvl1pPr>
              <a:defRPr sz="341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41249" y="1189143"/>
            <a:ext cx="9781336" cy="46094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7548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2870"/>
            <a:ext cx="9619774" cy="12604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4434" y="1764717"/>
            <a:ext cx="4720815" cy="4991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392" y="1764717"/>
            <a:ext cx="4720815" cy="4991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534988" y="6886575"/>
            <a:ext cx="2493962" cy="525463"/>
          </a:xfrm>
          <a:prstGeom prst="rect">
            <a:avLst/>
          </a:prstGeom>
        </p:spPr>
        <p:txBody>
          <a:bodyPr lIns="90881" tIns="45434" rIns="90881" bIns="45434"/>
          <a:lstStyle>
            <a:lvl1pPr defTabSz="1001778">
              <a:defRPr sz="2094">
                <a:solidFill>
                  <a:prstClr val="black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1250" y="6886575"/>
            <a:ext cx="3386138" cy="525463"/>
          </a:xfrm>
          <a:prstGeom prst="rect">
            <a:avLst/>
          </a:prstGeom>
        </p:spPr>
        <p:txBody>
          <a:bodyPr lIns="90881" tIns="45434" rIns="90881" bIns="45434"/>
          <a:lstStyle>
            <a:lvl1pPr defTabSz="1001778">
              <a:defRPr sz="2094">
                <a:solidFill>
                  <a:prstClr val="black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>
                <a:ea typeface="ヒラギノ角ゴ Pro W3" charset="-128"/>
              </a:defRPr>
            </a:lvl1pPr>
          </a:lstStyle>
          <a:p>
            <a:pPr>
              <a:defRPr/>
            </a:pPr>
            <a:fld id="{573F1ED8-AF2A-44F6-A99A-83E0C0504D8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489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3400"/>
            <a:ext cx="9618662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984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8217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93736" y="709762"/>
            <a:ext cx="9500131" cy="612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593735" y="1475098"/>
            <a:ext cx="4677866" cy="53287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6205" y="1475098"/>
            <a:ext cx="4679452" cy="53287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 bwMode="gray">
          <a:xfrm>
            <a:off x="3586163" y="7053263"/>
            <a:ext cx="5929312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 bwMode="gray">
          <a:xfrm>
            <a:off x="9609138" y="7053263"/>
            <a:ext cx="485775" cy="144462"/>
          </a:xfrm>
        </p:spPr>
        <p:txBody>
          <a:bodyPr/>
          <a:lstStyle>
            <a:lvl1pPr defTabSz="914400">
              <a:defRPr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>
              <a:defRPr/>
            </a:pPr>
            <a:fld id="{32022ADC-2C37-4197-9403-D0275F4FA74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199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535045" y="-34998"/>
            <a:ext cx="9618663" cy="1260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535045" y="1261151"/>
            <a:ext cx="9618663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1655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4" y="4859393"/>
            <a:ext cx="9085262" cy="1501775"/>
          </a:xfrm>
        </p:spPr>
        <p:txBody>
          <a:bodyPr anchor="t"/>
          <a:lstStyle>
            <a:lvl1pPr algn="l">
              <a:defRPr sz="3857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4" y="3205164"/>
            <a:ext cx="9085262" cy="1654175"/>
          </a:xfrm>
        </p:spPr>
        <p:txBody>
          <a:bodyPr anchor="b"/>
          <a:lstStyle>
            <a:lvl1pPr marL="0" indent="0">
              <a:buNone/>
              <a:defRPr sz="2094"/>
            </a:lvl1pPr>
            <a:lvl2pPr marL="439058" indent="0">
              <a:buNone/>
              <a:defRPr sz="1763"/>
            </a:lvl2pPr>
            <a:lvl3pPr marL="878150" indent="0">
              <a:buNone/>
              <a:defRPr sz="1543"/>
            </a:lvl3pPr>
            <a:lvl4pPr marL="1317226" indent="0">
              <a:buNone/>
              <a:defRPr sz="1322"/>
            </a:lvl4pPr>
            <a:lvl5pPr marL="1756303" indent="0">
              <a:buNone/>
              <a:defRPr sz="1322"/>
            </a:lvl5pPr>
            <a:lvl6pPr marL="2195384" indent="0">
              <a:buNone/>
              <a:defRPr sz="1322"/>
            </a:lvl6pPr>
            <a:lvl7pPr marL="2634460" indent="0">
              <a:buNone/>
              <a:defRPr sz="1322"/>
            </a:lvl7pPr>
            <a:lvl8pPr marL="3073541" indent="0">
              <a:buNone/>
              <a:defRPr sz="1322"/>
            </a:lvl8pPr>
            <a:lvl9pPr marL="3512618" indent="0">
              <a:buNone/>
              <a:defRPr sz="132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8378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5043" y="1765309"/>
            <a:ext cx="4732338" cy="4464050"/>
          </a:xfrm>
        </p:spPr>
        <p:txBody>
          <a:bodyPr/>
          <a:lstStyle>
            <a:lvl1pPr>
              <a:defRPr sz="1322"/>
            </a:lvl1pPr>
            <a:lvl2pPr>
              <a:defRPr sz="1322"/>
            </a:lvl2pPr>
            <a:lvl3pPr>
              <a:defRPr sz="1322"/>
            </a:lvl3pPr>
            <a:lvl4pPr>
              <a:defRPr sz="1322"/>
            </a:lvl4pPr>
            <a:lvl5pPr>
              <a:defRPr sz="1322"/>
            </a:lvl5pPr>
            <a:lvl6pPr>
              <a:defRPr sz="1763"/>
            </a:lvl6pPr>
            <a:lvl7pPr>
              <a:defRPr sz="1763"/>
            </a:lvl7pPr>
            <a:lvl8pPr>
              <a:defRPr sz="1763"/>
            </a:lvl8pPr>
            <a:lvl9pPr>
              <a:defRPr sz="176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9783" y="1765309"/>
            <a:ext cx="4733925" cy="4464050"/>
          </a:xfrm>
        </p:spPr>
        <p:txBody>
          <a:bodyPr/>
          <a:lstStyle>
            <a:lvl1pPr>
              <a:defRPr sz="1322"/>
            </a:lvl1pPr>
            <a:lvl2pPr>
              <a:defRPr sz="1322"/>
            </a:lvl2pPr>
            <a:lvl3pPr>
              <a:defRPr sz="1322"/>
            </a:lvl3pPr>
            <a:lvl4pPr>
              <a:defRPr sz="1322"/>
            </a:lvl4pPr>
            <a:lvl5pPr>
              <a:defRPr sz="1322"/>
            </a:lvl5pPr>
            <a:lvl6pPr>
              <a:defRPr sz="1763"/>
            </a:lvl6pPr>
            <a:lvl7pPr>
              <a:defRPr sz="1763"/>
            </a:lvl7pPr>
            <a:lvl8pPr>
              <a:defRPr sz="1763"/>
            </a:lvl8pPr>
            <a:lvl9pPr>
              <a:defRPr sz="176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466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92" y="1692278"/>
            <a:ext cx="4722813" cy="706438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39058" indent="0">
              <a:buNone/>
              <a:defRPr sz="2094" b="1"/>
            </a:lvl2pPr>
            <a:lvl3pPr marL="878150" indent="0">
              <a:buNone/>
              <a:defRPr sz="1763" b="1"/>
            </a:lvl3pPr>
            <a:lvl4pPr marL="1317226" indent="0">
              <a:buNone/>
              <a:defRPr sz="1543" b="1"/>
            </a:lvl4pPr>
            <a:lvl5pPr marL="1756303" indent="0">
              <a:buNone/>
              <a:defRPr sz="1543" b="1"/>
            </a:lvl5pPr>
            <a:lvl6pPr marL="2195384" indent="0">
              <a:buNone/>
              <a:defRPr sz="1543" b="1"/>
            </a:lvl6pPr>
            <a:lvl7pPr marL="2634460" indent="0">
              <a:buNone/>
              <a:defRPr sz="1543" b="1"/>
            </a:lvl7pPr>
            <a:lvl8pPr marL="3073541" indent="0">
              <a:buNone/>
              <a:defRPr sz="1543" b="1"/>
            </a:lvl8pPr>
            <a:lvl9pPr marL="3512618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92" y="2398771"/>
            <a:ext cx="4722813" cy="4357687"/>
          </a:xfrm>
        </p:spPr>
        <p:txBody>
          <a:bodyPr/>
          <a:lstStyle>
            <a:lvl1pPr>
              <a:defRPr sz="2314"/>
            </a:lvl1pPr>
            <a:lvl2pPr>
              <a:defRPr sz="2094"/>
            </a:lvl2pPr>
            <a:lvl3pPr>
              <a:defRPr sz="1763"/>
            </a:lvl3pPr>
            <a:lvl4pPr>
              <a:defRPr sz="1543"/>
            </a:lvl4pPr>
            <a:lvl5pPr>
              <a:defRPr sz="1543"/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252" y="1692278"/>
            <a:ext cx="4724400" cy="706438"/>
          </a:xfrm>
        </p:spPr>
        <p:txBody>
          <a:bodyPr anchor="b"/>
          <a:lstStyle>
            <a:lvl1pPr marL="0" indent="0">
              <a:buNone/>
              <a:defRPr sz="2314" b="1"/>
            </a:lvl1pPr>
            <a:lvl2pPr marL="439058" indent="0">
              <a:buNone/>
              <a:defRPr sz="2094" b="1"/>
            </a:lvl2pPr>
            <a:lvl3pPr marL="878150" indent="0">
              <a:buNone/>
              <a:defRPr sz="1763" b="1"/>
            </a:lvl3pPr>
            <a:lvl4pPr marL="1317226" indent="0">
              <a:buNone/>
              <a:defRPr sz="1543" b="1"/>
            </a:lvl4pPr>
            <a:lvl5pPr marL="1756303" indent="0">
              <a:buNone/>
              <a:defRPr sz="1543" b="1"/>
            </a:lvl5pPr>
            <a:lvl6pPr marL="2195384" indent="0">
              <a:buNone/>
              <a:defRPr sz="1543" b="1"/>
            </a:lvl6pPr>
            <a:lvl7pPr marL="2634460" indent="0">
              <a:buNone/>
              <a:defRPr sz="1543" b="1"/>
            </a:lvl7pPr>
            <a:lvl8pPr marL="3073541" indent="0">
              <a:buNone/>
              <a:defRPr sz="1543" b="1"/>
            </a:lvl8pPr>
            <a:lvl9pPr marL="3512618" indent="0">
              <a:buNone/>
              <a:defRPr sz="154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252" y="2398771"/>
            <a:ext cx="4724400" cy="4357687"/>
          </a:xfrm>
        </p:spPr>
        <p:txBody>
          <a:bodyPr/>
          <a:lstStyle>
            <a:lvl1pPr>
              <a:defRPr sz="2314"/>
            </a:lvl1pPr>
            <a:lvl2pPr>
              <a:defRPr sz="2094"/>
            </a:lvl2pPr>
            <a:lvl3pPr>
              <a:defRPr sz="1763"/>
            </a:lvl3pPr>
            <a:lvl4pPr>
              <a:defRPr sz="1543"/>
            </a:lvl4pPr>
            <a:lvl5pPr>
              <a:defRPr sz="1543"/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077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Template landscape shadow_5_Page_5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47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9371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9" y="301676"/>
            <a:ext cx="3516311" cy="1281113"/>
          </a:xfrm>
        </p:spPr>
        <p:txBody>
          <a:bodyPr anchor="b"/>
          <a:lstStyle>
            <a:lvl1pPr algn="l">
              <a:defRPr sz="2094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304" y="301628"/>
            <a:ext cx="5975351" cy="6454774"/>
          </a:xfrm>
        </p:spPr>
        <p:txBody>
          <a:bodyPr/>
          <a:lstStyle>
            <a:lvl1pPr>
              <a:defRPr sz="3086"/>
            </a:lvl1pPr>
            <a:lvl2pPr>
              <a:defRPr sz="2866"/>
            </a:lvl2pPr>
            <a:lvl3pPr>
              <a:defRPr sz="2314"/>
            </a:lvl3pPr>
            <a:lvl4pPr>
              <a:defRPr sz="2094"/>
            </a:lvl4pPr>
            <a:lvl5pPr>
              <a:defRPr sz="2094"/>
            </a:lvl5pPr>
            <a:lvl6pPr>
              <a:defRPr sz="2094"/>
            </a:lvl6pPr>
            <a:lvl7pPr>
              <a:defRPr sz="2094"/>
            </a:lvl7pPr>
            <a:lvl8pPr>
              <a:defRPr sz="2094"/>
            </a:lvl8pPr>
            <a:lvl9pPr>
              <a:defRPr sz="20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9" y="1582740"/>
            <a:ext cx="3516311" cy="5173662"/>
          </a:xfrm>
        </p:spPr>
        <p:txBody>
          <a:bodyPr/>
          <a:lstStyle>
            <a:lvl1pPr marL="0" indent="0">
              <a:buNone/>
              <a:defRPr sz="1322"/>
            </a:lvl1pPr>
            <a:lvl2pPr marL="439058" indent="0">
              <a:buNone/>
              <a:defRPr sz="1213"/>
            </a:lvl2pPr>
            <a:lvl3pPr marL="878150" indent="0">
              <a:buNone/>
              <a:defRPr sz="992"/>
            </a:lvl3pPr>
            <a:lvl4pPr marL="1317226" indent="0">
              <a:buNone/>
              <a:defRPr sz="882"/>
            </a:lvl4pPr>
            <a:lvl5pPr marL="1756303" indent="0">
              <a:buNone/>
              <a:defRPr sz="882"/>
            </a:lvl5pPr>
            <a:lvl6pPr marL="2195384" indent="0">
              <a:buNone/>
              <a:defRPr sz="882"/>
            </a:lvl6pPr>
            <a:lvl7pPr marL="2634460" indent="0">
              <a:buNone/>
              <a:defRPr sz="882"/>
            </a:lvl7pPr>
            <a:lvl8pPr marL="3073541" indent="0">
              <a:buNone/>
              <a:defRPr sz="882"/>
            </a:lvl8pPr>
            <a:lvl9pPr marL="351261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2374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 descr="Template landscape shadow_5_Page_5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7" y="5294367"/>
            <a:ext cx="6413500" cy="623887"/>
          </a:xfrm>
        </p:spPr>
        <p:txBody>
          <a:bodyPr anchor="b"/>
          <a:lstStyle>
            <a:lvl1pPr algn="l">
              <a:defRPr sz="2094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7" y="676277"/>
            <a:ext cx="6413500" cy="4537075"/>
          </a:xfrm>
        </p:spPr>
        <p:txBody>
          <a:bodyPr/>
          <a:lstStyle>
            <a:lvl1pPr marL="0" indent="0">
              <a:buNone/>
              <a:defRPr sz="3086"/>
            </a:lvl1pPr>
            <a:lvl2pPr marL="439058" indent="0">
              <a:buNone/>
              <a:defRPr sz="2866"/>
            </a:lvl2pPr>
            <a:lvl3pPr marL="878150" indent="0">
              <a:buNone/>
              <a:defRPr sz="2314"/>
            </a:lvl3pPr>
            <a:lvl4pPr marL="1317226" indent="0">
              <a:buNone/>
              <a:defRPr sz="2094"/>
            </a:lvl4pPr>
            <a:lvl5pPr marL="1756303" indent="0">
              <a:buNone/>
              <a:defRPr sz="2094"/>
            </a:lvl5pPr>
            <a:lvl6pPr marL="2195384" indent="0">
              <a:buNone/>
              <a:defRPr sz="2094"/>
            </a:lvl6pPr>
            <a:lvl7pPr marL="2634460" indent="0">
              <a:buNone/>
              <a:defRPr sz="2094"/>
            </a:lvl7pPr>
            <a:lvl8pPr marL="3073541" indent="0">
              <a:buNone/>
              <a:defRPr sz="2094"/>
            </a:lvl8pPr>
            <a:lvl9pPr marL="3512618" indent="0">
              <a:buNone/>
              <a:defRPr sz="2094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7" y="5918203"/>
            <a:ext cx="6413500" cy="889000"/>
          </a:xfrm>
        </p:spPr>
        <p:txBody>
          <a:bodyPr/>
          <a:lstStyle>
            <a:lvl1pPr marL="0" indent="0">
              <a:buNone/>
              <a:defRPr sz="1322"/>
            </a:lvl1pPr>
            <a:lvl2pPr marL="439058" indent="0">
              <a:buNone/>
              <a:defRPr sz="1213"/>
            </a:lvl2pPr>
            <a:lvl3pPr marL="878150" indent="0">
              <a:buNone/>
              <a:defRPr sz="992"/>
            </a:lvl3pPr>
            <a:lvl4pPr marL="1317226" indent="0">
              <a:buNone/>
              <a:defRPr sz="882"/>
            </a:lvl4pPr>
            <a:lvl5pPr marL="1756303" indent="0">
              <a:buNone/>
              <a:defRPr sz="882"/>
            </a:lvl5pPr>
            <a:lvl6pPr marL="2195384" indent="0">
              <a:buNone/>
              <a:defRPr sz="882"/>
            </a:lvl6pPr>
            <a:lvl7pPr marL="2634460" indent="0">
              <a:buNone/>
              <a:defRPr sz="882"/>
            </a:lvl7pPr>
            <a:lvl8pPr marL="3073541" indent="0">
              <a:buNone/>
              <a:defRPr sz="882"/>
            </a:lvl8pPr>
            <a:lvl9pPr marL="351261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4359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05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4988" y="-34925"/>
            <a:ext cx="9618662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988" y="1260475"/>
            <a:ext cx="961866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pic>
        <p:nvPicPr>
          <p:cNvPr id="2053" name="Picture 7" descr="Template landscape shadow_5_Page_5.jp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5600"/>
            <a:ext cx="10688638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4763" y="28575"/>
            <a:ext cx="1785937" cy="16827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defTabSz="1001778">
              <a:defRPr sz="1322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1pPr>
          </a:lstStyle>
          <a:p>
            <a:pPr>
              <a:defRPr/>
            </a:pPr>
            <a:fld id="{C66675AA-71B2-406A-B282-D4015B5D95E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439112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78260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317389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756523" algn="l" rtl="0" fontAlgn="base">
        <a:spcBef>
          <a:spcPct val="0"/>
        </a:spcBef>
        <a:spcAft>
          <a:spcPct val="0"/>
        </a:spcAft>
        <a:defRPr sz="3417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28613" indent="-328613" algn="l" rtl="0" eaLnBrk="0" fontAlgn="base" hangingPunct="0">
        <a:spcBef>
          <a:spcPct val="20000"/>
        </a:spcBef>
        <a:spcAft>
          <a:spcPct val="0"/>
        </a:spcAft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712788" indent="-2730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096963" indent="-219075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3pPr>
      <a:lvl4pPr marL="1536700" indent="-21907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974850" indent="-21907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415228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6pPr>
      <a:lvl7pPr marL="2854359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7pPr>
      <a:lvl8pPr marL="3293494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8pPr>
      <a:lvl9pPr marL="3732618" indent="-219556" algn="l" rtl="0" fontAlgn="base">
        <a:spcBef>
          <a:spcPct val="20000"/>
        </a:spcBef>
        <a:spcAft>
          <a:spcPct val="0"/>
        </a:spcAft>
        <a:buChar char="»"/>
        <a:defRPr sz="209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39112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878260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17389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75652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195656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634786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07392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513053" algn="l" defTabSz="878260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3"/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Highways and Parking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2430C6-DE1C-4F41-34B6-29A319E6DA08}"/>
              </a:ext>
            </a:extLst>
          </p:cNvPr>
          <p:cNvSpPr/>
          <p:nvPr/>
        </p:nvSpPr>
        <p:spPr>
          <a:xfrm>
            <a:off x="4659318" y="4589628"/>
            <a:ext cx="1373972" cy="103690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9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Head of Highways &amp; Parking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CSR (B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C287B6-0653-6627-B981-8166564BCB46}"/>
              </a:ext>
            </a:extLst>
          </p:cNvPr>
          <p:cNvSpPr/>
          <p:nvPr/>
        </p:nvSpPr>
        <p:spPr>
          <a:xfrm>
            <a:off x="346628" y="5967431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Traffic Design Mgr.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2ABBCD6-8E64-C8E5-19B3-9E2BA02DB086}"/>
              </a:ext>
            </a:extLst>
          </p:cNvPr>
          <p:cNvSpPr/>
          <p:nvPr/>
        </p:nvSpPr>
        <p:spPr>
          <a:xfrm>
            <a:off x="1236051" y="5963464"/>
            <a:ext cx="828774" cy="77261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Highways &amp; Parking Technical Mgr.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7 (Agency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7E3C5F-5627-362A-101B-270DB636EF2D}"/>
              </a:ext>
            </a:extLst>
          </p:cNvPr>
          <p:cNvSpPr/>
          <p:nvPr/>
        </p:nvSpPr>
        <p:spPr>
          <a:xfrm>
            <a:off x="4589552" y="5981454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General Enforcement Mgr.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02FD8E-7CBF-1F70-FC5B-4ACD9C6ED63B}"/>
              </a:ext>
            </a:extLst>
          </p:cNvPr>
          <p:cNvSpPr/>
          <p:nvPr/>
        </p:nvSpPr>
        <p:spPr>
          <a:xfrm>
            <a:off x="2125811" y="5967507"/>
            <a:ext cx="725452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Highway Asset </a:t>
            </a:r>
            <a:r>
              <a:rPr lang="en-GB" sz="700" b="1" dirty="0" err="1">
                <a:latin typeface="Arial" pitchFamily="34" charset="0"/>
                <a:cs typeface="Arial" pitchFamily="34" charset="0"/>
              </a:rPr>
              <a:t>Mgr</a:t>
            </a:r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8A8CE9-37E9-E919-1203-D7662ADFE34C}"/>
              </a:ext>
            </a:extLst>
          </p:cNvPr>
          <p:cNvSpPr/>
          <p:nvPr/>
        </p:nvSpPr>
        <p:spPr>
          <a:xfrm>
            <a:off x="2898124" y="5974768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 Highway Traffic Manager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6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41AB9D-7C39-0BFE-ADCC-36624CD77803}"/>
              </a:ext>
            </a:extLst>
          </p:cNvPr>
          <p:cNvSpPr/>
          <p:nvPr/>
        </p:nvSpPr>
        <p:spPr>
          <a:xfrm>
            <a:off x="3775314" y="5974768"/>
            <a:ext cx="773089" cy="761307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    Croydon &amp; Lewisham Street Lighting Mgr.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C147CF-B5DA-AAE5-95A2-9C4A570D8658}"/>
              </a:ext>
            </a:extLst>
          </p:cNvPr>
          <p:cNvSpPr/>
          <p:nvPr/>
        </p:nvSpPr>
        <p:spPr>
          <a:xfrm>
            <a:off x="7082004" y="5988059"/>
            <a:ext cx="773089" cy="108056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Diane Webb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Communication and Performance Manager (Vacant; Diane acting up 0.6FTE)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2088A1D-8142-BEC6-ACF9-E35596DF90C9}"/>
              </a:ext>
            </a:extLst>
          </p:cNvPr>
          <p:cNvSpPr/>
          <p:nvPr/>
        </p:nvSpPr>
        <p:spPr>
          <a:xfrm>
            <a:off x="6228161" y="5996087"/>
            <a:ext cx="770986" cy="97621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Policy Investigation and Performance Manager (Grade 17 budgeted; VACANT)</a:t>
            </a:r>
            <a:endParaRPr lang="en-GB" sz="7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64A0E-E92C-B52E-F595-487E69C73858}"/>
              </a:ext>
            </a:extLst>
          </p:cNvPr>
          <p:cNvCxnSpPr>
            <a:cxnSpLocks/>
            <a:stCxn id="4" idx="2"/>
          </p:cNvCxnSpPr>
          <p:nvPr/>
        </p:nvCxnSpPr>
        <p:spPr bwMode="auto">
          <a:xfrm>
            <a:off x="5346304" y="5626532"/>
            <a:ext cx="0" cy="17915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FBF4F3-429F-2A2F-467D-04146D08CC6D}"/>
              </a:ext>
            </a:extLst>
          </p:cNvPr>
          <p:cNvCxnSpPr>
            <a:cxnSpLocks/>
          </p:cNvCxnSpPr>
          <p:nvPr/>
        </p:nvCxnSpPr>
        <p:spPr bwMode="auto">
          <a:xfrm flipH="1">
            <a:off x="761015" y="5819452"/>
            <a:ext cx="432143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5BA980D-E146-2205-EF4A-D7F8AE3A3E9B}"/>
              </a:ext>
            </a:extLst>
          </p:cNvPr>
          <p:cNvCxnSpPr>
            <a:cxnSpLocks/>
          </p:cNvCxnSpPr>
          <p:nvPr/>
        </p:nvCxnSpPr>
        <p:spPr bwMode="auto">
          <a:xfrm>
            <a:off x="5061521" y="5819452"/>
            <a:ext cx="3364910" cy="688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962181A0-A093-6CA5-B3E0-5534EA8261EB}"/>
              </a:ext>
            </a:extLst>
          </p:cNvPr>
          <p:cNvSpPr/>
          <p:nvPr/>
        </p:nvSpPr>
        <p:spPr>
          <a:xfrm>
            <a:off x="5459475" y="6009162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Infrastructure </a:t>
            </a:r>
            <a:r>
              <a:rPr lang="en-GB" sz="700" b="1" dirty="0" err="1">
                <a:latin typeface="Arial" pitchFamily="34" charset="0"/>
                <a:cs typeface="Arial" pitchFamily="34" charset="0"/>
              </a:rPr>
              <a:t>Mgr</a:t>
            </a:r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9780E11-A34F-AE11-9ED6-C83E196B077B}"/>
              </a:ext>
            </a:extLst>
          </p:cNvPr>
          <p:cNvCxnSpPr>
            <a:endCxn id="12" idx="0"/>
          </p:cNvCxnSpPr>
          <p:nvPr/>
        </p:nvCxnSpPr>
        <p:spPr bwMode="auto">
          <a:xfrm>
            <a:off x="761015" y="5819452"/>
            <a:ext cx="0" cy="1479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56D3D82-56F7-B1F5-A355-089305C4A02A}"/>
              </a:ext>
            </a:extLst>
          </p:cNvPr>
          <p:cNvCxnSpPr>
            <a:endCxn id="17" idx="0"/>
          </p:cNvCxnSpPr>
          <p:nvPr/>
        </p:nvCxnSpPr>
        <p:spPr bwMode="auto">
          <a:xfrm flipH="1">
            <a:off x="2488537" y="5819452"/>
            <a:ext cx="7013" cy="1480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29A1920-C2BA-506B-2B9E-641C7FDE5615}"/>
              </a:ext>
            </a:extLst>
          </p:cNvPr>
          <p:cNvCxnSpPr>
            <a:cxnSpLocks/>
            <a:endCxn id="21" idx="0"/>
          </p:cNvCxnSpPr>
          <p:nvPr/>
        </p:nvCxnSpPr>
        <p:spPr bwMode="auto">
          <a:xfrm flipH="1">
            <a:off x="4161859" y="5819452"/>
            <a:ext cx="566" cy="1553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716FC71-F5A6-92F9-F0A6-AA9918AFCB07}"/>
              </a:ext>
            </a:extLst>
          </p:cNvPr>
          <p:cNvCxnSpPr/>
          <p:nvPr/>
        </p:nvCxnSpPr>
        <p:spPr bwMode="auto">
          <a:xfrm>
            <a:off x="6566443" y="5819452"/>
            <a:ext cx="0" cy="1440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6570617-C7E3-BD5A-88EC-772EC030B645}"/>
              </a:ext>
            </a:extLst>
          </p:cNvPr>
          <p:cNvCxnSpPr>
            <a:cxnSpLocks/>
            <a:endCxn id="22" idx="0"/>
          </p:cNvCxnSpPr>
          <p:nvPr/>
        </p:nvCxnSpPr>
        <p:spPr bwMode="auto">
          <a:xfrm>
            <a:off x="7468549" y="5819452"/>
            <a:ext cx="0" cy="1686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E2AC673-8BA8-26D9-E5A2-7A82D1CF1E63}"/>
              </a:ext>
            </a:extLst>
          </p:cNvPr>
          <p:cNvCxnSpPr>
            <a:cxnSpLocks/>
          </p:cNvCxnSpPr>
          <p:nvPr/>
        </p:nvCxnSpPr>
        <p:spPr bwMode="auto">
          <a:xfrm flipH="1">
            <a:off x="5852238" y="5833215"/>
            <a:ext cx="5907" cy="1621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3368EE4-E941-26C7-CD36-0EB3272D9209}"/>
              </a:ext>
            </a:extLst>
          </p:cNvPr>
          <p:cNvCxnSpPr>
            <a:cxnSpLocks/>
            <a:endCxn id="15" idx="0"/>
          </p:cNvCxnSpPr>
          <p:nvPr/>
        </p:nvCxnSpPr>
        <p:spPr bwMode="auto">
          <a:xfrm flipH="1">
            <a:off x="5003939" y="5833215"/>
            <a:ext cx="363" cy="1482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FC1EDE3B-7012-AFBF-C7DF-AA35EA2F75C4}"/>
              </a:ext>
            </a:extLst>
          </p:cNvPr>
          <p:cNvCxnSpPr>
            <a:cxnSpLocks/>
            <a:endCxn id="18" idx="0"/>
          </p:cNvCxnSpPr>
          <p:nvPr/>
        </p:nvCxnSpPr>
        <p:spPr bwMode="auto">
          <a:xfrm flipH="1">
            <a:off x="3312511" y="5805690"/>
            <a:ext cx="1412" cy="1690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69B4BF6F-D55A-6342-E7F2-3506FEDE14A4}"/>
              </a:ext>
            </a:extLst>
          </p:cNvPr>
          <p:cNvCxnSpPr>
            <a:cxnSpLocks/>
            <a:endCxn id="13" idx="0"/>
          </p:cNvCxnSpPr>
          <p:nvPr/>
        </p:nvCxnSpPr>
        <p:spPr bwMode="auto">
          <a:xfrm flipH="1">
            <a:off x="1650438" y="5805690"/>
            <a:ext cx="3964" cy="15777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D6A468B-C0C4-1E53-2FE6-0B427BFC1ED4}"/>
              </a:ext>
            </a:extLst>
          </p:cNvPr>
          <p:cNvSpPr/>
          <p:nvPr/>
        </p:nvSpPr>
        <p:spPr>
          <a:xfrm>
            <a:off x="8039887" y="5988059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CTV Operations Manag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4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2C0DCAE-9C7A-CB91-CA59-B8413DCBE429}"/>
              </a:ext>
            </a:extLst>
          </p:cNvPr>
          <p:cNvCxnSpPr>
            <a:cxnSpLocks/>
          </p:cNvCxnSpPr>
          <p:nvPr/>
        </p:nvCxnSpPr>
        <p:spPr bwMode="auto">
          <a:xfrm>
            <a:off x="8428669" y="5804212"/>
            <a:ext cx="0" cy="1686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7098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656100" y="1838275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Traffic Design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298310-AB7F-71BF-E460-C15223668C49}"/>
              </a:ext>
            </a:extLst>
          </p:cNvPr>
          <p:cNvSpPr/>
          <p:nvPr/>
        </p:nvSpPr>
        <p:spPr>
          <a:xfrm>
            <a:off x="478387" y="330533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enior Traffic Orders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F34BA3-E1F1-80F2-7E40-E397F2792000}"/>
              </a:ext>
            </a:extLst>
          </p:cNvPr>
          <p:cNvSpPr/>
          <p:nvPr/>
        </p:nvSpPr>
        <p:spPr>
          <a:xfrm>
            <a:off x="2523780" y="330533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 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Traffic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0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95B68D-2FE5-2C21-2832-C74310780391}"/>
              </a:ext>
            </a:extLst>
          </p:cNvPr>
          <p:cNvSpPr/>
          <p:nvPr/>
        </p:nvSpPr>
        <p:spPr>
          <a:xfrm>
            <a:off x="4647313" y="330533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Technical Administrat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6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7D8702-7BBA-0C6C-232A-49AB345303FC}"/>
              </a:ext>
            </a:extLst>
          </p:cNvPr>
          <p:cNvSpPr/>
          <p:nvPr/>
        </p:nvSpPr>
        <p:spPr>
          <a:xfrm>
            <a:off x="6847397" y="330533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Traffic Engineer Grade 10 (Agency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89E231-196F-3081-6C14-97ED38E6C18D}"/>
              </a:ext>
            </a:extLst>
          </p:cNvPr>
          <p:cNvSpPr/>
          <p:nvPr/>
        </p:nvSpPr>
        <p:spPr>
          <a:xfrm>
            <a:off x="8892790" y="3305330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Traffic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4 (Fixed term)</a:t>
            </a:r>
          </a:p>
          <a:p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173265" y="2700150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5B508C-D7AC-D488-ABCA-9118BD138B58}"/>
              </a:ext>
            </a:extLst>
          </p:cNvPr>
          <p:cNvCxnSpPr>
            <a:cxnSpLocks/>
          </p:cNvCxnSpPr>
          <p:nvPr/>
        </p:nvCxnSpPr>
        <p:spPr bwMode="auto">
          <a:xfrm flipH="1">
            <a:off x="1174495" y="3081579"/>
            <a:ext cx="399877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F9B808-1561-ABBF-D217-8F916C4EB9B1}"/>
              </a:ext>
            </a:extLst>
          </p:cNvPr>
          <p:cNvCxnSpPr/>
          <p:nvPr/>
        </p:nvCxnSpPr>
        <p:spPr bwMode="auto">
          <a:xfrm>
            <a:off x="5173265" y="3081579"/>
            <a:ext cx="441563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D5F049-3AB3-F0B5-B2F6-B07BCA2F2255}"/>
              </a:ext>
            </a:extLst>
          </p:cNvPr>
          <p:cNvCxnSpPr>
            <a:endCxn id="7" idx="0"/>
          </p:cNvCxnSpPr>
          <p:nvPr/>
        </p:nvCxnSpPr>
        <p:spPr bwMode="auto">
          <a:xfrm>
            <a:off x="1174495" y="3081579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9AFA7CE-AD01-7A1F-8B8D-897B62E6E5C5}"/>
              </a:ext>
            </a:extLst>
          </p:cNvPr>
          <p:cNvCxnSpPr>
            <a:endCxn id="8" idx="0"/>
          </p:cNvCxnSpPr>
          <p:nvPr/>
        </p:nvCxnSpPr>
        <p:spPr bwMode="auto">
          <a:xfrm>
            <a:off x="3219888" y="3081579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AE71A48-47EB-E153-C4B5-6DADEF38374B}"/>
              </a:ext>
            </a:extLst>
          </p:cNvPr>
          <p:cNvCxnSpPr>
            <a:endCxn id="9" idx="0"/>
          </p:cNvCxnSpPr>
          <p:nvPr/>
        </p:nvCxnSpPr>
        <p:spPr bwMode="auto">
          <a:xfrm>
            <a:off x="5343421" y="3081579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57936F1-7DA6-5029-CA9A-E7AE88BD2D0B}"/>
              </a:ext>
            </a:extLst>
          </p:cNvPr>
          <p:cNvCxnSpPr>
            <a:endCxn id="10" idx="0"/>
          </p:cNvCxnSpPr>
          <p:nvPr/>
        </p:nvCxnSpPr>
        <p:spPr bwMode="auto">
          <a:xfrm>
            <a:off x="7543505" y="3081579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BEBC6D5-401A-5704-39B8-4E6269F1F468}"/>
              </a:ext>
            </a:extLst>
          </p:cNvPr>
          <p:cNvCxnSpPr>
            <a:endCxn id="11" idx="0"/>
          </p:cNvCxnSpPr>
          <p:nvPr/>
        </p:nvCxnSpPr>
        <p:spPr bwMode="auto">
          <a:xfrm>
            <a:off x="9588898" y="3081579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3">
            <a:extLst>
              <a:ext uri="{FF2B5EF4-FFF2-40B4-BE49-F238E27FC236}">
                <a16:creationId xmlns:a16="http://schemas.microsoft.com/office/drawing/2014/main" id="{4627AD84-D63B-E7A6-71E6-F7E5D51D2662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Parking Design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91061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594106" y="1915767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Highways Technical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7 (Agency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298310-AB7F-71BF-E460-C15223668C49}"/>
              </a:ext>
            </a:extLst>
          </p:cNvPr>
          <p:cNvSpPr/>
          <p:nvPr/>
        </p:nvSpPr>
        <p:spPr>
          <a:xfrm>
            <a:off x="1112500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LIP Programme Delivery Manag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4 (Agency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F34BA3-E1F1-80F2-7E40-E397F2792000}"/>
              </a:ext>
            </a:extLst>
          </p:cNvPr>
          <p:cNvSpPr/>
          <p:nvPr/>
        </p:nvSpPr>
        <p:spPr>
          <a:xfrm>
            <a:off x="187034" y="47925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Project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95B68D-2FE5-2C21-2832-C74310780391}"/>
              </a:ext>
            </a:extLst>
          </p:cNvPr>
          <p:cNvSpPr/>
          <p:nvPr/>
        </p:nvSpPr>
        <p:spPr>
          <a:xfrm>
            <a:off x="1963722" y="47925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roject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7D8702-7BBA-0C6C-232A-49AB345303FC}"/>
              </a:ext>
            </a:extLst>
          </p:cNvPr>
          <p:cNvSpPr/>
          <p:nvPr/>
        </p:nvSpPr>
        <p:spPr>
          <a:xfrm>
            <a:off x="7786633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Road Safety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0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111271" y="2777642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5B508C-D7AC-D488-ABCA-9118BD138B58}"/>
              </a:ext>
            </a:extLst>
          </p:cNvPr>
          <p:cNvCxnSpPr>
            <a:cxnSpLocks/>
          </p:cNvCxnSpPr>
          <p:nvPr/>
        </p:nvCxnSpPr>
        <p:spPr bwMode="auto">
          <a:xfrm flipH="1">
            <a:off x="1808608" y="3159071"/>
            <a:ext cx="330266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D5F049-3AB3-F0B5-B2F6-B07BCA2F2255}"/>
              </a:ext>
            </a:extLst>
          </p:cNvPr>
          <p:cNvCxnSpPr>
            <a:endCxn id="7" idx="0"/>
          </p:cNvCxnSpPr>
          <p:nvPr/>
        </p:nvCxnSpPr>
        <p:spPr bwMode="auto">
          <a:xfrm>
            <a:off x="1808608" y="3159071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D49839-C91A-B717-9168-D8C33641F8E9}"/>
              </a:ext>
            </a:extLst>
          </p:cNvPr>
          <p:cNvCxnSpPr>
            <a:endCxn id="10" idx="0"/>
          </p:cNvCxnSpPr>
          <p:nvPr/>
        </p:nvCxnSpPr>
        <p:spPr bwMode="auto">
          <a:xfrm>
            <a:off x="8482741" y="3168596"/>
            <a:ext cx="1" cy="2142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402D40A-EFC2-80C9-F4B1-0A98F983871F}"/>
              </a:ext>
            </a:extLst>
          </p:cNvPr>
          <p:cNvCxnSpPr>
            <a:cxnSpLocks/>
          </p:cNvCxnSpPr>
          <p:nvPr/>
        </p:nvCxnSpPr>
        <p:spPr bwMode="auto">
          <a:xfrm>
            <a:off x="5111271" y="3159071"/>
            <a:ext cx="337147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2EEBBBD2-23F7-40E9-B87C-8D493C641D95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Highways Improvements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72231D6-5006-FDE7-3C24-D4BCDC5B1914}"/>
              </a:ext>
            </a:extLst>
          </p:cNvPr>
          <p:cNvCxnSpPr>
            <a:cxnSpLocks/>
            <a:stCxn id="7" idx="2"/>
            <a:endCxn id="9" idx="0"/>
          </p:cNvCxnSpPr>
          <p:nvPr/>
        </p:nvCxnSpPr>
        <p:spPr bwMode="auto">
          <a:xfrm rot="16200000" flipH="1">
            <a:off x="2048417" y="4181108"/>
            <a:ext cx="371606" cy="85122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A3E3FD3-85F5-4B10-DB69-752412442A34}"/>
              </a:ext>
            </a:extLst>
          </p:cNvPr>
          <p:cNvCxnSpPr>
            <a:cxnSpLocks/>
            <a:stCxn id="7" idx="2"/>
          </p:cNvCxnSpPr>
          <p:nvPr/>
        </p:nvCxnSpPr>
        <p:spPr bwMode="auto">
          <a:xfrm rot="5400000">
            <a:off x="1232622" y="3996015"/>
            <a:ext cx="151087" cy="1000889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159915BC-E132-8D07-FE38-5C8D46EB7887}"/>
              </a:ext>
            </a:extLst>
          </p:cNvPr>
          <p:cNvSpPr/>
          <p:nvPr/>
        </p:nvSpPr>
        <p:spPr>
          <a:xfrm>
            <a:off x="3511053" y="47925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roject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B89869-F5C3-9B0D-86C8-737E3F47EA79}"/>
              </a:ext>
            </a:extLst>
          </p:cNvPr>
          <p:cNvSpPr/>
          <p:nvPr/>
        </p:nvSpPr>
        <p:spPr>
          <a:xfrm>
            <a:off x="5058384" y="47925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Project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7E0EE30-EA7E-6AE4-A362-08FF7BD7048C}"/>
              </a:ext>
            </a:extLst>
          </p:cNvPr>
          <p:cNvSpPr/>
          <p:nvPr/>
        </p:nvSpPr>
        <p:spPr>
          <a:xfrm>
            <a:off x="4384621" y="3365685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enior Communications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B8D9FD-3DD8-B42A-1610-22F1DBBDCDC6}"/>
              </a:ext>
            </a:extLst>
          </p:cNvPr>
          <p:cNvSpPr/>
          <p:nvPr/>
        </p:nvSpPr>
        <p:spPr>
          <a:xfrm>
            <a:off x="6085627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Assistant Quantity Surveyo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2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341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478295" y="1383497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Highway Operations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7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4995460" y="2245372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E7851189-0794-E9A0-EC89-DE78E13902C0}"/>
              </a:ext>
            </a:extLst>
          </p:cNvPr>
          <p:cNvSpPr/>
          <p:nvPr/>
        </p:nvSpPr>
        <p:spPr>
          <a:xfrm>
            <a:off x="4086150" y="2745288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Senior 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51513-CB7C-42C9-FF2E-ABB4F91A3C36}"/>
              </a:ext>
            </a:extLst>
          </p:cNvPr>
          <p:cNvSpPr/>
          <p:nvPr/>
        </p:nvSpPr>
        <p:spPr>
          <a:xfrm>
            <a:off x="868071" y="2753718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Highways Engine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367DFD4-87DD-E35D-DA41-C1A1F87240EB}"/>
              </a:ext>
            </a:extLst>
          </p:cNvPr>
          <p:cNvSpPr/>
          <p:nvPr/>
        </p:nvSpPr>
        <p:spPr>
          <a:xfrm>
            <a:off x="1972540" y="2753718"/>
            <a:ext cx="725452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Senior Engineer – Structures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2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0078885-1906-AE8C-CEF7-E7EE7654AF34}"/>
              </a:ext>
            </a:extLst>
          </p:cNvPr>
          <p:cNvSpPr/>
          <p:nvPr/>
        </p:nvSpPr>
        <p:spPr>
          <a:xfrm>
            <a:off x="2977756" y="2753718"/>
            <a:ext cx="828774" cy="70816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Senior Engineer - Structures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.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7AD1279-2AD3-04F7-2CD3-0438B862D6ED}"/>
              </a:ext>
            </a:extLst>
          </p:cNvPr>
          <p:cNvSpPr/>
          <p:nvPr/>
        </p:nvSpPr>
        <p:spPr>
          <a:xfrm>
            <a:off x="6255816" y="2753719"/>
            <a:ext cx="773089" cy="782890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Development Control Manag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4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20524DF-0537-9CE2-5922-FAB0B585BE6B}"/>
              </a:ext>
            </a:extLst>
          </p:cNvPr>
          <p:cNvSpPr/>
          <p:nvPr/>
        </p:nvSpPr>
        <p:spPr>
          <a:xfrm>
            <a:off x="7313390" y="2745289"/>
            <a:ext cx="773089" cy="68922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Consultant Flood Risk Officer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FC46E30-3C8D-8579-6F24-876AF73DC538}"/>
              </a:ext>
            </a:extLst>
          </p:cNvPr>
          <p:cNvSpPr/>
          <p:nvPr/>
        </p:nvSpPr>
        <p:spPr>
          <a:xfrm>
            <a:off x="8373887" y="2753719"/>
            <a:ext cx="770986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rainage Support Engine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387EC5A-A3C0-FDBE-AB93-279AADFADDA5}"/>
              </a:ext>
            </a:extLst>
          </p:cNvPr>
          <p:cNvCxnSpPr>
            <a:cxnSpLocks/>
          </p:cNvCxnSpPr>
          <p:nvPr/>
        </p:nvCxnSpPr>
        <p:spPr bwMode="auto">
          <a:xfrm flipH="1">
            <a:off x="327991" y="2626801"/>
            <a:ext cx="441575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D4A1D-83DC-D715-5500-314CED8B2E7B}"/>
              </a:ext>
            </a:extLst>
          </p:cNvPr>
          <p:cNvCxnSpPr>
            <a:cxnSpLocks/>
          </p:cNvCxnSpPr>
          <p:nvPr/>
        </p:nvCxnSpPr>
        <p:spPr bwMode="auto">
          <a:xfrm>
            <a:off x="3667001" y="2626801"/>
            <a:ext cx="605296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FA926771-FEEA-4D48-FCCE-AC48713CCB57}"/>
              </a:ext>
            </a:extLst>
          </p:cNvPr>
          <p:cNvSpPr/>
          <p:nvPr/>
        </p:nvSpPr>
        <p:spPr>
          <a:xfrm>
            <a:off x="5195319" y="2738498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Drainage Engine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2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CD3CA57-CF8B-9D67-94FC-96935AD992DD}"/>
              </a:ext>
            </a:extLst>
          </p:cNvPr>
          <p:cNvSpPr/>
          <p:nvPr/>
        </p:nvSpPr>
        <p:spPr>
          <a:xfrm>
            <a:off x="960317" y="3678736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ECCD28F-59B3-44F7-AEC9-270A470A6EBC}"/>
              </a:ext>
            </a:extLst>
          </p:cNvPr>
          <p:cNvSpPr/>
          <p:nvPr/>
        </p:nvSpPr>
        <p:spPr>
          <a:xfrm>
            <a:off x="1734727" y="3678736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35B8973-5E1D-F4B6-8ECD-13187F6B9DF3}"/>
              </a:ext>
            </a:extLst>
          </p:cNvPr>
          <p:cNvSpPr/>
          <p:nvPr/>
        </p:nvSpPr>
        <p:spPr>
          <a:xfrm>
            <a:off x="2563501" y="3678736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7EBC7BA-EEC8-E6EE-DFBA-4A46A3BE87DD}"/>
              </a:ext>
            </a:extLst>
          </p:cNvPr>
          <p:cNvSpPr/>
          <p:nvPr/>
        </p:nvSpPr>
        <p:spPr>
          <a:xfrm>
            <a:off x="3392143" y="3671944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802D158-DE8E-A675-0EA7-42F1D012D15D}"/>
              </a:ext>
            </a:extLst>
          </p:cNvPr>
          <p:cNvSpPr/>
          <p:nvPr/>
        </p:nvSpPr>
        <p:spPr>
          <a:xfrm>
            <a:off x="131543" y="3671945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s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 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4ADC25F-D30F-2123-FC63-AC3E7BDE2BE1}"/>
              </a:ext>
            </a:extLst>
          </p:cNvPr>
          <p:cNvCxnSpPr>
            <a:stCxn id="54" idx="2"/>
          </p:cNvCxnSpPr>
          <p:nvPr/>
        </p:nvCxnSpPr>
        <p:spPr bwMode="auto">
          <a:xfrm>
            <a:off x="4500537" y="3345339"/>
            <a:ext cx="0" cy="20538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AEC1E29-33B6-9643-10AF-C58274738B5D}"/>
              </a:ext>
            </a:extLst>
          </p:cNvPr>
          <p:cNvCxnSpPr>
            <a:cxnSpLocks/>
          </p:cNvCxnSpPr>
          <p:nvPr/>
        </p:nvCxnSpPr>
        <p:spPr bwMode="auto">
          <a:xfrm flipH="1">
            <a:off x="545930" y="3543399"/>
            <a:ext cx="4231879" cy="732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68315E8-3B6A-F40B-D210-EACEFBDF2E87}"/>
              </a:ext>
            </a:extLst>
          </p:cNvPr>
          <p:cNvCxnSpPr>
            <a:cxnSpLocks/>
            <a:endCxn id="86" idx="0"/>
          </p:cNvCxnSpPr>
          <p:nvPr/>
        </p:nvCxnSpPr>
        <p:spPr bwMode="auto">
          <a:xfrm>
            <a:off x="545930" y="3550726"/>
            <a:ext cx="0" cy="1212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1A176DCB-4938-7549-8979-4C5DBD798E8F}"/>
              </a:ext>
            </a:extLst>
          </p:cNvPr>
          <p:cNvCxnSpPr>
            <a:endCxn id="82" idx="0"/>
          </p:cNvCxnSpPr>
          <p:nvPr/>
        </p:nvCxnSpPr>
        <p:spPr bwMode="auto">
          <a:xfrm>
            <a:off x="1374704" y="3550726"/>
            <a:ext cx="0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59CFB0C-1BA0-290C-63A7-0A3ABE4528E9}"/>
              </a:ext>
            </a:extLst>
          </p:cNvPr>
          <p:cNvCxnSpPr>
            <a:endCxn id="83" idx="0"/>
          </p:cNvCxnSpPr>
          <p:nvPr/>
        </p:nvCxnSpPr>
        <p:spPr bwMode="auto">
          <a:xfrm>
            <a:off x="2149114" y="3550726"/>
            <a:ext cx="0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F897884-854C-C22F-CF6C-699B4B1FF36D}"/>
              </a:ext>
            </a:extLst>
          </p:cNvPr>
          <p:cNvCxnSpPr>
            <a:cxnSpLocks/>
            <a:endCxn id="84" idx="0"/>
          </p:cNvCxnSpPr>
          <p:nvPr/>
        </p:nvCxnSpPr>
        <p:spPr bwMode="auto">
          <a:xfrm>
            <a:off x="2977756" y="3550726"/>
            <a:ext cx="132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8B28466-0B1B-57E4-1332-E48CC54A4A01}"/>
              </a:ext>
            </a:extLst>
          </p:cNvPr>
          <p:cNvCxnSpPr>
            <a:endCxn id="85" idx="0"/>
          </p:cNvCxnSpPr>
          <p:nvPr/>
        </p:nvCxnSpPr>
        <p:spPr bwMode="auto">
          <a:xfrm>
            <a:off x="3806530" y="3550726"/>
            <a:ext cx="0" cy="1212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8221BA8-73BE-CCAC-D9CA-AC04B30CB5DA}"/>
              </a:ext>
            </a:extLst>
          </p:cNvPr>
          <p:cNvSpPr/>
          <p:nvPr/>
        </p:nvSpPr>
        <p:spPr>
          <a:xfrm>
            <a:off x="6153756" y="3873269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uate Engine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D37F151-5E4E-1ED0-5C18-BF59E5B46F08}"/>
              </a:ext>
            </a:extLst>
          </p:cNvPr>
          <p:cNvSpPr/>
          <p:nvPr/>
        </p:nvSpPr>
        <p:spPr>
          <a:xfrm>
            <a:off x="6926845" y="3873268"/>
            <a:ext cx="773089" cy="760618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Highway Records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1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8F220B-AEEC-8CA3-DD01-AAA33BBE0462}"/>
              </a:ext>
            </a:extLst>
          </p:cNvPr>
          <p:cNvSpPr/>
          <p:nvPr/>
        </p:nvSpPr>
        <p:spPr>
          <a:xfrm>
            <a:off x="7699934" y="3861474"/>
            <a:ext cx="773089" cy="74974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Development Control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 Management Support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DAA1E8F-6E05-E834-49FD-A2462E8BB8BF}"/>
              </a:ext>
            </a:extLst>
          </p:cNvPr>
          <p:cNvSpPr/>
          <p:nvPr/>
        </p:nvSpPr>
        <p:spPr>
          <a:xfrm>
            <a:off x="5380526" y="3873268"/>
            <a:ext cx="773089" cy="72806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 Senior Engineer - Development Management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2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C72FE92-027F-B6FB-250F-8B911501BD2A}"/>
              </a:ext>
            </a:extLst>
          </p:cNvPr>
          <p:cNvSpPr/>
          <p:nvPr/>
        </p:nvSpPr>
        <p:spPr>
          <a:xfrm>
            <a:off x="8552080" y="3861122"/>
            <a:ext cx="773089" cy="74974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Engineer - Development Management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086AEA2-09C5-7C91-D767-3E3ADC7C0372}"/>
              </a:ext>
            </a:extLst>
          </p:cNvPr>
          <p:cNvCxnSpPr>
            <a:cxnSpLocks/>
            <a:stCxn id="59" idx="2"/>
          </p:cNvCxnSpPr>
          <p:nvPr/>
        </p:nvCxnSpPr>
        <p:spPr bwMode="auto">
          <a:xfrm flipH="1">
            <a:off x="6642360" y="3536609"/>
            <a:ext cx="1" cy="1411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9833847-D27E-F96B-68AC-7922B368428E}"/>
              </a:ext>
            </a:extLst>
          </p:cNvPr>
          <p:cNvCxnSpPr>
            <a:cxnSpLocks/>
          </p:cNvCxnSpPr>
          <p:nvPr/>
        </p:nvCxnSpPr>
        <p:spPr bwMode="auto">
          <a:xfrm>
            <a:off x="5767070" y="3638712"/>
            <a:ext cx="3954379" cy="123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90604D5-C512-9980-F167-310E94E1BCDB}"/>
              </a:ext>
            </a:extLst>
          </p:cNvPr>
          <p:cNvCxnSpPr>
            <a:cxnSpLocks/>
            <a:endCxn id="106" idx="0"/>
          </p:cNvCxnSpPr>
          <p:nvPr/>
        </p:nvCxnSpPr>
        <p:spPr bwMode="auto">
          <a:xfrm>
            <a:off x="5767070" y="3745259"/>
            <a:ext cx="1" cy="1280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D99DE60E-9F82-A797-9BD7-2157CD71E290}"/>
              </a:ext>
            </a:extLst>
          </p:cNvPr>
          <p:cNvCxnSpPr>
            <a:endCxn id="103" idx="0"/>
          </p:cNvCxnSpPr>
          <p:nvPr/>
        </p:nvCxnSpPr>
        <p:spPr bwMode="auto">
          <a:xfrm>
            <a:off x="6540300" y="3745259"/>
            <a:ext cx="1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05C7EAC-22DC-C52B-11DA-B67313BA04B8}"/>
              </a:ext>
            </a:extLst>
          </p:cNvPr>
          <p:cNvCxnSpPr>
            <a:cxnSpLocks/>
            <a:endCxn id="105" idx="0"/>
          </p:cNvCxnSpPr>
          <p:nvPr/>
        </p:nvCxnSpPr>
        <p:spPr bwMode="auto">
          <a:xfrm>
            <a:off x="8086478" y="3745259"/>
            <a:ext cx="1" cy="1162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85B1B1E6-604C-9F5C-7348-D1A5967C532E}"/>
              </a:ext>
            </a:extLst>
          </p:cNvPr>
          <p:cNvCxnSpPr>
            <a:cxnSpLocks/>
            <a:endCxn id="104" idx="0"/>
          </p:cNvCxnSpPr>
          <p:nvPr/>
        </p:nvCxnSpPr>
        <p:spPr bwMode="auto">
          <a:xfrm>
            <a:off x="7313389" y="3745259"/>
            <a:ext cx="1" cy="1280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CCE2C2B-F0AB-9479-87C9-6DEC8FAB512D}"/>
              </a:ext>
            </a:extLst>
          </p:cNvPr>
          <p:cNvCxnSpPr>
            <a:endCxn id="55" idx="0"/>
          </p:cNvCxnSpPr>
          <p:nvPr/>
        </p:nvCxnSpPr>
        <p:spPr bwMode="auto">
          <a:xfrm>
            <a:off x="1282458" y="2626801"/>
            <a:ext cx="0" cy="1269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288271F4-F666-608F-7FA7-90B899E18F24}"/>
              </a:ext>
            </a:extLst>
          </p:cNvPr>
          <p:cNvCxnSpPr>
            <a:endCxn id="57" idx="0"/>
          </p:cNvCxnSpPr>
          <p:nvPr/>
        </p:nvCxnSpPr>
        <p:spPr bwMode="auto">
          <a:xfrm>
            <a:off x="2335266" y="2626801"/>
            <a:ext cx="0" cy="1269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0B82ABD2-3984-2F70-96C2-97D8016C1218}"/>
              </a:ext>
            </a:extLst>
          </p:cNvPr>
          <p:cNvCxnSpPr>
            <a:cxnSpLocks/>
            <a:endCxn id="58" idx="0"/>
          </p:cNvCxnSpPr>
          <p:nvPr/>
        </p:nvCxnSpPr>
        <p:spPr bwMode="auto">
          <a:xfrm>
            <a:off x="3392143" y="2626801"/>
            <a:ext cx="0" cy="1269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0744042E-A3D8-F264-682A-1DB17F36ACEA}"/>
              </a:ext>
            </a:extLst>
          </p:cNvPr>
          <p:cNvCxnSpPr>
            <a:endCxn id="54" idx="0"/>
          </p:cNvCxnSpPr>
          <p:nvPr/>
        </p:nvCxnSpPr>
        <p:spPr bwMode="auto">
          <a:xfrm>
            <a:off x="4500537" y="2626801"/>
            <a:ext cx="0" cy="1184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0A0ED81-2EBA-7C41-2144-EF9A4F1FCAE1}"/>
              </a:ext>
            </a:extLst>
          </p:cNvPr>
          <p:cNvCxnSpPr>
            <a:endCxn id="67" idx="0"/>
          </p:cNvCxnSpPr>
          <p:nvPr/>
        </p:nvCxnSpPr>
        <p:spPr bwMode="auto">
          <a:xfrm>
            <a:off x="5581863" y="2626801"/>
            <a:ext cx="1" cy="1116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91FE2A0-1BFD-AE7B-D1EF-D3976B3165A9}"/>
              </a:ext>
            </a:extLst>
          </p:cNvPr>
          <p:cNvCxnSpPr>
            <a:cxnSpLocks/>
            <a:endCxn id="59" idx="0"/>
          </p:cNvCxnSpPr>
          <p:nvPr/>
        </p:nvCxnSpPr>
        <p:spPr bwMode="auto">
          <a:xfrm>
            <a:off x="6642360" y="2626801"/>
            <a:ext cx="1" cy="1269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73ED378F-ABB0-79EF-0C6A-88ECFBFD906D}"/>
              </a:ext>
            </a:extLst>
          </p:cNvPr>
          <p:cNvCxnSpPr>
            <a:cxnSpLocks/>
            <a:endCxn id="60" idx="0"/>
          </p:cNvCxnSpPr>
          <p:nvPr/>
        </p:nvCxnSpPr>
        <p:spPr bwMode="auto">
          <a:xfrm>
            <a:off x="7699934" y="2626801"/>
            <a:ext cx="1" cy="1184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D48C137C-28AB-332C-036C-A4F3ADD95F02}"/>
              </a:ext>
            </a:extLst>
          </p:cNvPr>
          <p:cNvCxnSpPr>
            <a:endCxn id="61" idx="0"/>
          </p:cNvCxnSpPr>
          <p:nvPr/>
        </p:nvCxnSpPr>
        <p:spPr bwMode="auto">
          <a:xfrm>
            <a:off x="8759380" y="2626801"/>
            <a:ext cx="0" cy="1269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3">
            <a:extLst>
              <a:ext uri="{FF2B5EF4-FFF2-40B4-BE49-F238E27FC236}">
                <a16:creationId xmlns:a16="http://schemas.microsoft.com/office/drawing/2014/main" id="{B5ABDB55-7203-5282-3889-B58358C58BFD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Highways Maintenance 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045C48C-4FB4-D00F-69E9-9540F344EC52}"/>
              </a:ext>
            </a:extLst>
          </p:cNvPr>
          <p:cNvCxnSpPr>
            <a:cxnSpLocks/>
          </p:cNvCxnSpPr>
          <p:nvPr/>
        </p:nvCxnSpPr>
        <p:spPr bwMode="auto">
          <a:xfrm>
            <a:off x="9057022" y="3699641"/>
            <a:ext cx="1" cy="7216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AD05D81-31C7-4CBC-21EC-FA339A983B57}"/>
              </a:ext>
            </a:extLst>
          </p:cNvPr>
          <p:cNvSpPr/>
          <p:nvPr/>
        </p:nvSpPr>
        <p:spPr>
          <a:xfrm>
            <a:off x="4281868" y="3674561"/>
            <a:ext cx="828774" cy="73837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 (additional duties)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472B139-F565-A853-40B8-6ED27D4B964D}"/>
              </a:ext>
            </a:extLst>
          </p:cNvPr>
          <p:cNvCxnSpPr/>
          <p:nvPr/>
        </p:nvCxnSpPr>
        <p:spPr bwMode="auto">
          <a:xfrm>
            <a:off x="4751410" y="3573586"/>
            <a:ext cx="0" cy="1212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A4C3FE8-855D-1A24-DA24-2389A4E27393}"/>
              </a:ext>
            </a:extLst>
          </p:cNvPr>
          <p:cNvSpPr/>
          <p:nvPr/>
        </p:nvSpPr>
        <p:spPr>
          <a:xfrm>
            <a:off x="9317860" y="3854794"/>
            <a:ext cx="773089" cy="74974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Finance Officer Development Management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9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3973C4-3AAB-A3DB-ABE1-F3E68A2E7378}"/>
              </a:ext>
            </a:extLst>
          </p:cNvPr>
          <p:cNvCxnSpPr>
            <a:cxnSpLocks/>
          </p:cNvCxnSpPr>
          <p:nvPr/>
        </p:nvCxnSpPr>
        <p:spPr bwMode="auto">
          <a:xfrm>
            <a:off x="9719962" y="3679933"/>
            <a:ext cx="1" cy="1162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0D9AB6EE-4E80-C046-BC56-801036233572}"/>
              </a:ext>
            </a:extLst>
          </p:cNvPr>
          <p:cNvSpPr/>
          <p:nvPr/>
        </p:nvSpPr>
        <p:spPr>
          <a:xfrm>
            <a:off x="9290184" y="2753718"/>
            <a:ext cx="770986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Asset Manager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5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8669C90-E970-203F-2118-E4E18B5B897A}"/>
              </a:ext>
            </a:extLst>
          </p:cNvPr>
          <p:cNvSpPr/>
          <p:nvPr/>
        </p:nvSpPr>
        <p:spPr>
          <a:xfrm>
            <a:off x="68192" y="2753718"/>
            <a:ext cx="770986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Street claims Manager 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0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</p:spTree>
    <p:extLst>
      <p:ext uri="{BB962C8B-B14F-4D97-AF65-F5344CB8AC3E}">
        <p14:creationId xmlns:p14="http://schemas.microsoft.com/office/powerpoint/2010/main" val="3595449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617779" y="1569477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Highway Traffic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6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134944" y="2431352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51513-CB7C-42C9-FF2E-ABB4F91A3C36}"/>
              </a:ext>
            </a:extLst>
          </p:cNvPr>
          <p:cNvSpPr/>
          <p:nvPr/>
        </p:nvSpPr>
        <p:spPr>
          <a:xfrm>
            <a:off x="1007555" y="2939698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Senior Engineer Quality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4</a:t>
            </a:r>
          </a:p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367DFD4-87DD-E35D-DA41-C1A1F87240EB}"/>
              </a:ext>
            </a:extLst>
          </p:cNvPr>
          <p:cNvSpPr/>
          <p:nvPr/>
        </p:nvSpPr>
        <p:spPr>
          <a:xfrm>
            <a:off x="4122692" y="2912659"/>
            <a:ext cx="768628" cy="94622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Construction Logistics Manage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4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NB: post in Regeneration</a:t>
            </a:r>
          </a:p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0078885-1906-AE8C-CEF7-E7EE7654AF34}"/>
              </a:ext>
            </a:extLst>
          </p:cNvPr>
          <p:cNvSpPr/>
          <p:nvPr/>
        </p:nvSpPr>
        <p:spPr>
          <a:xfrm>
            <a:off x="3031448" y="3781425"/>
            <a:ext cx="828774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Coring Engineer</a:t>
            </a:r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2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7AD1279-2AD3-04F7-2CD3-0438B862D6ED}"/>
              </a:ext>
            </a:extLst>
          </p:cNvPr>
          <p:cNvSpPr/>
          <p:nvPr/>
        </p:nvSpPr>
        <p:spPr>
          <a:xfrm>
            <a:off x="6395300" y="2939699"/>
            <a:ext cx="773089" cy="71480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Senior Network Management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4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20524DF-0537-9CE2-5922-FAB0B585BE6B}"/>
              </a:ext>
            </a:extLst>
          </p:cNvPr>
          <p:cNvSpPr/>
          <p:nvPr/>
        </p:nvSpPr>
        <p:spPr>
          <a:xfrm>
            <a:off x="1226264" y="3781425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NRSWA Inspecto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FC46E30-3C8D-8579-6F24-876AF73DC538}"/>
              </a:ext>
            </a:extLst>
          </p:cNvPr>
          <p:cNvSpPr/>
          <p:nvPr/>
        </p:nvSpPr>
        <p:spPr>
          <a:xfrm>
            <a:off x="311606" y="3764563"/>
            <a:ext cx="770986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NRSWA Inspecto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387EC5A-A3C0-FDBE-AB93-279AADFADDA5}"/>
              </a:ext>
            </a:extLst>
          </p:cNvPr>
          <p:cNvCxnSpPr>
            <a:cxnSpLocks/>
          </p:cNvCxnSpPr>
          <p:nvPr/>
        </p:nvCxnSpPr>
        <p:spPr bwMode="auto">
          <a:xfrm flipH="1">
            <a:off x="1421942" y="2812781"/>
            <a:ext cx="34612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D4A1D-83DC-D715-5500-314CED8B2E7B}"/>
              </a:ext>
            </a:extLst>
          </p:cNvPr>
          <p:cNvCxnSpPr>
            <a:cxnSpLocks/>
          </p:cNvCxnSpPr>
          <p:nvPr/>
        </p:nvCxnSpPr>
        <p:spPr bwMode="auto">
          <a:xfrm>
            <a:off x="4861020" y="2812781"/>
            <a:ext cx="19208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FA926771-FEEA-4D48-FCCE-AC48713CCB57}"/>
              </a:ext>
            </a:extLst>
          </p:cNvPr>
          <p:cNvSpPr/>
          <p:nvPr/>
        </p:nvSpPr>
        <p:spPr>
          <a:xfrm>
            <a:off x="2170798" y="3781425"/>
            <a:ext cx="773089" cy="600051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NRSWA Inspector</a:t>
            </a:r>
          </a:p>
          <a:p>
            <a:pPr algn="ctr"/>
            <a:r>
              <a:rPr lang="en-GB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8221BA8-73BE-CCAC-D9CA-AC04B30CB5DA}"/>
              </a:ext>
            </a:extLst>
          </p:cNvPr>
          <p:cNvSpPr/>
          <p:nvPr/>
        </p:nvSpPr>
        <p:spPr>
          <a:xfrm>
            <a:off x="5622210" y="4336758"/>
            <a:ext cx="773089" cy="728056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Street Custodian Engine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D37F151-5E4E-1ED0-5C18-BF59E5B46F08}"/>
              </a:ext>
            </a:extLst>
          </p:cNvPr>
          <p:cNvSpPr/>
          <p:nvPr/>
        </p:nvSpPr>
        <p:spPr>
          <a:xfrm>
            <a:off x="6395299" y="4336757"/>
            <a:ext cx="773089" cy="728056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0.6FTE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8F220B-AEEC-8CA3-DD01-AAA33BBE0462}"/>
              </a:ext>
            </a:extLst>
          </p:cNvPr>
          <p:cNvSpPr/>
          <p:nvPr/>
        </p:nvSpPr>
        <p:spPr>
          <a:xfrm>
            <a:off x="7168388" y="4324963"/>
            <a:ext cx="773089" cy="746636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0.4FTE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DAA1E8F-6E05-E834-49FD-A2462E8BB8BF}"/>
              </a:ext>
            </a:extLst>
          </p:cNvPr>
          <p:cNvSpPr/>
          <p:nvPr/>
        </p:nvSpPr>
        <p:spPr>
          <a:xfrm>
            <a:off x="4848980" y="4336757"/>
            <a:ext cx="773089" cy="734843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Network Management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C72FE92-027F-B6FB-250F-8B911501BD2A}"/>
              </a:ext>
            </a:extLst>
          </p:cNvPr>
          <p:cNvSpPr/>
          <p:nvPr/>
        </p:nvSpPr>
        <p:spPr>
          <a:xfrm>
            <a:off x="4103591" y="4343547"/>
            <a:ext cx="773089" cy="721268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Network Management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10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086AEA2-09C5-7C91-D767-3E3ADC7C0372}"/>
              </a:ext>
            </a:extLst>
          </p:cNvPr>
          <p:cNvCxnSpPr>
            <a:cxnSpLocks/>
            <a:stCxn id="59" idx="2"/>
          </p:cNvCxnSpPr>
          <p:nvPr/>
        </p:nvCxnSpPr>
        <p:spPr bwMode="auto">
          <a:xfrm>
            <a:off x="6781845" y="3654508"/>
            <a:ext cx="0" cy="55424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B31CD4B-EE1D-E2C8-C2B7-40CABF29DA27}"/>
              </a:ext>
            </a:extLst>
          </p:cNvPr>
          <p:cNvCxnSpPr/>
          <p:nvPr/>
        </p:nvCxnSpPr>
        <p:spPr bwMode="auto">
          <a:xfrm flipH="1">
            <a:off x="4411054" y="4208748"/>
            <a:ext cx="172743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9833847-D27E-F96B-68AC-7922B368428E}"/>
              </a:ext>
            </a:extLst>
          </p:cNvPr>
          <p:cNvCxnSpPr>
            <a:cxnSpLocks/>
          </p:cNvCxnSpPr>
          <p:nvPr/>
        </p:nvCxnSpPr>
        <p:spPr bwMode="auto">
          <a:xfrm>
            <a:off x="6138490" y="4208748"/>
            <a:ext cx="141644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C2E75B9-868F-3701-F2A2-21EB34323BF6}"/>
              </a:ext>
            </a:extLst>
          </p:cNvPr>
          <p:cNvCxnSpPr/>
          <p:nvPr/>
        </p:nvCxnSpPr>
        <p:spPr bwMode="auto">
          <a:xfrm>
            <a:off x="4411054" y="4208748"/>
            <a:ext cx="0" cy="1280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90604D5-C512-9980-F167-310E94E1BCDB}"/>
              </a:ext>
            </a:extLst>
          </p:cNvPr>
          <p:cNvCxnSpPr>
            <a:cxnSpLocks/>
            <a:endCxn id="106" idx="0"/>
          </p:cNvCxnSpPr>
          <p:nvPr/>
        </p:nvCxnSpPr>
        <p:spPr bwMode="auto">
          <a:xfrm>
            <a:off x="5235524" y="4208748"/>
            <a:ext cx="1" cy="1280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D99DE60E-9F82-A797-9BD7-2157CD71E290}"/>
              </a:ext>
            </a:extLst>
          </p:cNvPr>
          <p:cNvCxnSpPr>
            <a:cxnSpLocks/>
            <a:endCxn id="103" idx="0"/>
          </p:cNvCxnSpPr>
          <p:nvPr/>
        </p:nvCxnSpPr>
        <p:spPr bwMode="auto">
          <a:xfrm>
            <a:off x="6008754" y="4208748"/>
            <a:ext cx="1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05C7EAC-22DC-C52B-11DA-B67313BA04B8}"/>
              </a:ext>
            </a:extLst>
          </p:cNvPr>
          <p:cNvCxnSpPr>
            <a:cxnSpLocks/>
            <a:endCxn id="105" idx="0"/>
          </p:cNvCxnSpPr>
          <p:nvPr/>
        </p:nvCxnSpPr>
        <p:spPr bwMode="auto">
          <a:xfrm>
            <a:off x="7554932" y="4208748"/>
            <a:ext cx="1" cy="1162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85B1B1E6-604C-9F5C-7348-D1A5967C532E}"/>
              </a:ext>
            </a:extLst>
          </p:cNvPr>
          <p:cNvCxnSpPr>
            <a:cxnSpLocks/>
            <a:endCxn id="104" idx="0"/>
          </p:cNvCxnSpPr>
          <p:nvPr/>
        </p:nvCxnSpPr>
        <p:spPr bwMode="auto">
          <a:xfrm>
            <a:off x="6781843" y="4208748"/>
            <a:ext cx="1" cy="1280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CCE2C2B-F0AB-9479-87C9-6DEC8FAB512D}"/>
              </a:ext>
            </a:extLst>
          </p:cNvPr>
          <p:cNvCxnSpPr>
            <a:cxnSpLocks/>
            <a:endCxn id="55" idx="0"/>
          </p:cNvCxnSpPr>
          <p:nvPr/>
        </p:nvCxnSpPr>
        <p:spPr bwMode="auto">
          <a:xfrm>
            <a:off x="1421942" y="2812781"/>
            <a:ext cx="0" cy="1269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0B82ABD2-3984-2F70-96C2-97D8016C1218}"/>
              </a:ext>
            </a:extLst>
          </p:cNvPr>
          <p:cNvCxnSpPr>
            <a:endCxn id="58" idx="0"/>
          </p:cNvCxnSpPr>
          <p:nvPr/>
        </p:nvCxnSpPr>
        <p:spPr bwMode="auto">
          <a:xfrm>
            <a:off x="3445835" y="3654508"/>
            <a:ext cx="0" cy="1269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0A0ED81-2EBA-7C41-2144-EF9A4F1FCAE1}"/>
              </a:ext>
            </a:extLst>
          </p:cNvPr>
          <p:cNvCxnSpPr>
            <a:endCxn id="67" idx="0"/>
          </p:cNvCxnSpPr>
          <p:nvPr/>
        </p:nvCxnSpPr>
        <p:spPr bwMode="auto">
          <a:xfrm>
            <a:off x="2557342" y="3669728"/>
            <a:ext cx="1" cy="1116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91FE2A0-1BFD-AE7B-D1EF-D3976B3165A9}"/>
              </a:ext>
            </a:extLst>
          </p:cNvPr>
          <p:cNvCxnSpPr>
            <a:cxnSpLocks/>
            <a:endCxn id="59" idx="0"/>
          </p:cNvCxnSpPr>
          <p:nvPr/>
        </p:nvCxnSpPr>
        <p:spPr bwMode="auto">
          <a:xfrm>
            <a:off x="6781844" y="2812781"/>
            <a:ext cx="1" cy="1269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73ED378F-ABB0-79EF-0C6A-88ECFBFD906D}"/>
              </a:ext>
            </a:extLst>
          </p:cNvPr>
          <p:cNvCxnSpPr>
            <a:endCxn id="60" idx="0"/>
          </p:cNvCxnSpPr>
          <p:nvPr/>
        </p:nvCxnSpPr>
        <p:spPr bwMode="auto">
          <a:xfrm>
            <a:off x="1612808" y="3662937"/>
            <a:ext cx="1" cy="1184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D48C137C-28AB-332C-036C-A4F3ADD95F02}"/>
              </a:ext>
            </a:extLst>
          </p:cNvPr>
          <p:cNvCxnSpPr>
            <a:endCxn id="61" idx="0"/>
          </p:cNvCxnSpPr>
          <p:nvPr/>
        </p:nvCxnSpPr>
        <p:spPr bwMode="auto">
          <a:xfrm>
            <a:off x="697099" y="3637645"/>
            <a:ext cx="0" cy="1269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  <a:stCxn id="57" idx="0"/>
            <a:endCxn id="57" idx="0"/>
          </p:cNvCxnSpPr>
          <p:nvPr/>
        </p:nvCxnSpPr>
        <p:spPr bwMode="auto">
          <a:xfrm>
            <a:off x="4507006" y="2912659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793FF24-B4F9-97E5-DA97-DDFDD3EA5F5E}"/>
              </a:ext>
            </a:extLst>
          </p:cNvPr>
          <p:cNvCxnSpPr>
            <a:cxnSpLocks/>
            <a:endCxn id="57" idx="0"/>
          </p:cNvCxnSpPr>
          <p:nvPr/>
        </p:nvCxnSpPr>
        <p:spPr bwMode="auto">
          <a:xfrm>
            <a:off x="4507006" y="2785743"/>
            <a:ext cx="0" cy="1269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2548E48B-BAC1-07A3-89E0-A8FE71F4EBBD}"/>
              </a:ext>
            </a:extLst>
          </p:cNvPr>
          <p:cNvSpPr/>
          <p:nvPr/>
        </p:nvSpPr>
        <p:spPr>
          <a:xfrm>
            <a:off x="7941476" y="4333335"/>
            <a:ext cx="773089" cy="731477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F0ADCB-EC88-85DD-EB44-4AA89F63429A}"/>
              </a:ext>
            </a:extLst>
          </p:cNvPr>
          <p:cNvSpPr/>
          <p:nvPr/>
        </p:nvSpPr>
        <p:spPr>
          <a:xfrm>
            <a:off x="8673570" y="4333335"/>
            <a:ext cx="773089" cy="731476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3D0E061-9CB9-C176-0A1E-C9ECF1E1D68D}"/>
              </a:ext>
            </a:extLst>
          </p:cNvPr>
          <p:cNvCxnSpPr>
            <a:cxnSpLocks/>
          </p:cNvCxnSpPr>
          <p:nvPr/>
        </p:nvCxnSpPr>
        <p:spPr bwMode="auto">
          <a:xfrm>
            <a:off x="7554932" y="4208748"/>
            <a:ext cx="229398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79EF952-4313-6016-FE30-7F1C764AA56B}"/>
              </a:ext>
            </a:extLst>
          </p:cNvPr>
          <p:cNvCxnSpPr>
            <a:cxnSpLocks/>
            <a:endCxn id="10" idx="0"/>
          </p:cNvCxnSpPr>
          <p:nvPr/>
        </p:nvCxnSpPr>
        <p:spPr bwMode="auto">
          <a:xfrm>
            <a:off x="8328020" y="4208748"/>
            <a:ext cx="1" cy="1245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6540307-0365-310E-F993-6F38AC301BE7}"/>
              </a:ext>
            </a:extLst>
          </p:cNvPr>
          <p:cNvCxnSpPr>
            <a:cxnSpLocks/>
            <a:endCxn id="14" idx="0"/>
          </p:cNvCxnSpPr>
          <p:nvPr/>
        </p:nvCxnSpPr>
        <p:spPr bwMode="auto">
          <a:xfrm>
            <a:off x="9060114" y="4208748"/>
            <a:ext cx="1" cy="1245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itle 3">
            <a:extLst>
              <a:ext uri="{FF2B5EF4-FFF2-40B4-BE49-F238E27FC236}">
                <a16:creationId xmlns:a16="http://schemas.microsoft.com/office/drawing/2014/main" id="{5C4C8542-CA93-77EE-1EE7-C2798BE8CF57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New Roads Street Works Act (NRSWA)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B0A3859-F9FC-16E2-79C0-5944614B9B29}"/>
              </a:ext>
            </a:extLst>
          </p:cNvPr>
          <p:cNvCxnSpPr>
            <a:cxnSpLocks/>
          </p:cNvCxnSpPr>
          <p:nvPr/>
        </p:nvCxnSpPr>
        <p:spPr bwMode="auto">
          <a:xfrm flipH="1">
            <a:off x="697099" y="3637645"/>
            <a:ext cx="274873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4060305-96B3-B3B9-BA6F-CD4657BFA530}"/>
              </a:ext>
            </a:extLst>
          </p:cNvPr>
          <p:cNvCxnSpPr/>
          <p:nvPr/>
        </p:nvCxnSpPr>
        <p:spPr bwMode="auto">
          <a:xfrm>
            <a:off x="1420999" y="3485245"/>
            <a:ext cx="0" cy="1269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9EFBCEDA-2A48-E40E-5432-7C373CC888BB}"/>
              </a:ext>
            </a:extLst>
          </p:cNvPr>
          <p:cNvSpPr/>
          <p:nvPr/>
        </p:nvSpPr>
        <p:spPr>
          <a:xfrm>
            <a:off x="5622069" y="5199607"/>
            <a:ext cx="773089" cy="942109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7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Assistant Custodian and </a:t>
            </a:r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700" b="1" dirty="0" err="1">
                <a:latin typeface="Arial" pitchFamily="34" charset="0"/>
                <a:cs typeface="Arial" pitchFamily="34" charset="0"/>
              </a:rPr>
              <a:t>AdministratorGrade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9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9D63ADA-380D-62D6-9908-B8C63A5E3E71}"/>
              </a:ext>
            </a:extLst>
          </p:cNvPr>
          <p:cNvCxnSpPr>
            <a:cxnSpLocks/>
          </p:cNvCxnSpPr>
          <p:nvPr/>
        </p:nvCxnSpPr>
        <p:spPr bwMode="auto">
          <a:xfrm>
            <a:off x="6023994" y="5069808"/>
            <a:ext cx="1" cy="1280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824CF0E-52DB-3C7F-F3F5-DFB18864517C}"/>
              </a:ext>
            </a:extLst>
          </p:cNvPr>
          <p:cNvSpPr/>
          <p:nvPr/>
        </p:nvSpPr>
        <p:spPr>
          <a:xfrm>
            <a:off x="9462374" y="4333335"/>
            <a:ext cx="773089" cy="731476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 err="1">
                <a:latin typeface="Arial" pitchFamily="34" charset="0"/>
                <a:cs typeface="Arial" pitchFamily="34" charset="0"/>
              </a:rPr>
              <a:t>Streetworks</a:t>
            </a:r>
            <a:r>
              <a:rPr lang="en-US" sz="700" b="1" dirty="0">
                <a:latin typeface="Arial" pitchFamily="34" charset="0"/>
                <a:cs typeface="Arial" pitchFamily="34" charset="0"/>
              </a:rPr>
              <a:t> Officer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Grade 7</a:t>
            </a:r>
          </a:p>
          <a:p>
            <a:pPr algn="ctr"/>
            <a:r>
              <a:rPr lang="en-US" sz="700" b="1" dirty="0">
                <a:latin typeface="Arial" pitchFamily="34" charset="0"/>
                <a:cs typeface="Arial" pitchFamily="34" charset="0"/>
              </a:rPr>
              <a:t>(Vacant)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418D11B-B985-C0CA-1523-1D59D6AB782E}"/>
              </a:ext>
            </a:extLst>
          </p:cNvPr>
          <p:cNvCxnSpPr>
            <a:cxnSpLocks/>
          </p:cNvCxnSpPr>
          <p:nvPr/>
        </p:nvCxnSpPr>
        <p:spPr bwMode="auto">
          <a:xfrm>
            <a:off x="9837354" y="4208748"/>
            <a:ext cx="1" cy="1245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0984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710770" y="1894941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Croydon &amp; Lewisham Street Lighting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5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stCxn id="5" idx="2"/>
          </p:cNvCxnSpPr>
          <p:nvPr/>
        </p:nvCxnSpPr>
        <p:spPr bwMode="auto">
          <a:xfrm>
            <a:off x="5227935" y="2756816"/>
            <a:ext cx="0" cy="381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387EC5A-A3C0-FDBE-AB93-279AADFADDA5}"/>
              </a:ext>
            </a:extLst>
          </p:cNvPr>
          <p:cNvCxnSpPr>
            <a:cxnSpLocks/>
          </p:cNvCxnSpPr>
          <p:nvPr/>
        </p:nvCxnSpPr>
        <p:spPr bwMode="auto">
          <a:xfrm flipH="1">
            <a:off x="1863849" y="3138245"/>
            <a:ext cx="34612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D4A1D-83DC-D715-5500-314CED8B2E7B}"/>
              </a:ext>
            </a:extLst>
          </p:cNvPr>
          <p:cNvCxnSpPr>
            <a:cxnSpLocks/>
          </p:cNvCxnSpPr>
          <p:nvPr/>
        </p:nvCxnSpPr>
        <p:spPr bwMode="auto">
          <a:xfrm>
            <a:off x="4954011" y="3138245"/>
            <a:ext cx="354729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579457" y="3201703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1775E8C-1BE4-D5C5-3F7C-73E881866EE2}"/>
              </a:ext>
            </a:extLst>
          </p:cNvPr>
          <p:cNvSpPr/>
          <p:nvPr/>
        </p:nvSpPr>
        <p:spPr>
          <a:xfrm>
            <a:off x="1181813" y="358453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Monitoring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8A6605-7186-CCDF-F4F8-5A453690F2CB}"/>
              </a:ext>
            </a:extLst>
          </p:cNvPr>
          <p:cNvSpPr/>
          <p:nvPr/>
        </p:nvSpPr>
        <p:spPr>
          <a:xfrm>
            <a:off x="4531826" y="358453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Monitoring Officer</a:t>
            </a:r>
          </a:p>
          <a:p>
            <a:pPr algn="ctr"/>
            <a:r>
              <a:rPr lang="en-GB" sz="9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8BA169-953A-CD84-2B48-18690862FB89}"/>
              </a:ext>
            </a:extLst>
          </p:cNvPr>
          <p:cNvSpPr/>
          <p:nvPr/>
        </p:nvSpPr>
        <p:spPr>
          <a:xfrm>
            <a:off x="7678345" y="358453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Monitoring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9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6F4010-88DC-3EA9-7AF2-3CC0B9E01267}"/>
              </a:ext>
            </a:extLst>
          </p:cNvPr>
          <p:cNvCxnSpPr>
            <a:endCxn id="2" idx="0"/>
          </p:cNvCxnSpPr>
          <p:nvPr/>
        </p:nvCxnSpPr>
        <p:spPr bwMode="auto">
          <a:xfrm>
            <a:off x="1877921" y="3138245"/>
            <a:ext cx="1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1F856A-0A1A-887D-DA7E-F06C2B362F14}"/>
              </a:ext>
            </a:extLst>
          </p:cNvPr>
          <p:cNvCxnSpPr/>
          <p:nvPr/>
        </p:nvCxnSpPr>
        <p:spPr bwMode="auto">
          <a:xfrm>
            <a:off x="5227935" y="3138245"/>
            <a:ext cx="0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C2B19DD-FB0B-C948-0C64-565D3CCE0E08}"/>
              </a:ext>
            </a:extLst>
          </p:cNvPr>
          <p:cNvCxnSpPr/>
          <p:nvPr/>
        </p:nvCxnSpPr>
        <p:spPr bwMode="auto">
          <a:xfrm>
            <a:off x="8501305" y="3138245"/>
            <a:ext cx="0" cy="4462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itle 3">
            <a:extLst>
              <a:ext uri="{FF2B5EF4-FFF2-40B4-BE49-F238E27FC236}">
                <a16:creationId xmlns:a16="http://schemas.microsoft.com/office/drawing/2014/main" id="{C7C10036-F572-B3A1-324B-C1E1365F0117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Arial"/>
              </a:rPr>
              <a:t>Street Lighting PFI Monitoring Team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MS PGothic" panose="020B0600070205080204" pitchFamily="34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57849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825F22-851E-B012-FEF8-08394DAC2867}"/>
              </a:ext>
            </a:extLst>
          </p:cNvPr>
          <p:cNvSpPr/>
          <p:nvPr/>
        </p:nvSpPr>
        <p:spPr>
          <a:xfrm>
            <a:off x="3594106" y="1915768"/>
            <a:ext cx="3034330" cy="819812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Communication and Performance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rade 15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 (Vacant; Diane acting up 0.6FTE)</a:t>
            </a:r>
          </a:p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298310-AB7F-71BF-E460-C15223668C49}"/>
              </a:ext>
            </a:extLst>
          </p:cNvPr>
          <p:cNvSpPr/>
          <p:nvPr/>
        </p:nvSpPr>
        <p:spPr>
          <a:xfrm>
            <a:off x="1112500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ervice Delivery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7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F34BA3-E1F1-80F2-7E40-E397F2792000}"/>
              </a:ext>
            </a:extLst>
          </p:cNvPr>
          <p:cNvSpPr/>
          <p:nvPr/>
        </p:nvSpPr>
        <p:spPr>
          <a:xfrm>
            <a:off x="3425534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 Technical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7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95B68D-2FE5-2C21-2832-C74310780391}"/>
              </a:ext>
            </a:extLst>
          </p:cNvPr>
          <p:cNvSpPr/>
          <p:nvPr/>
        </p:nvSpPr>
        <p:spPr>
          <a:xfrm>
            <a:off x="5606082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Technical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7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Agency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7D8702-7BBA-0C6C-232A-49AB345303FC}"/>
              </a:ext>
            </a:extLst>
          </p:cNvPr>
          <p:cNvSpPr/>
          <p:nvPr/>
        </p:nvSpPr>
        <p:spPr>
          <a:xfrm>
            <a:off x="7786633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Technical Support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7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4D2C7-AF7A-E449-55C1-BF6B9F89D9EB}"/>
              </a:ext>
            </a:extLst>
          </p:cNvPr>
          <p:cNvCxnSpPr>
            <a:cxnSpLocks/>
            <a:stCxn id="5" idx="2"/>
          </p:cNvCxnSpPr>
          <p:nvPr/>
        </p:nvCxnSpPr>
        <p:spPr bwMode="auto">
          <a:xfrm>
            <a:off x="5111271" y="2735580"/>
            <a:ext cx="0" cy="4234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5B508C-D7AC-D488-ABCA-9118BD138B58}"/>
              </a:ext>
            </a:extLst>
          </p:cNvPr>
          <p:cNvCxnSpPr>
            <a:cxnSpLocks/>
          </p:cNvCxnSpPr>
          <p:nvPr/>
        </p:nvCxnSpPr>
        <p:spPr bwMode="auto">
          <a:xfrm flipH="1">
            <a:off x="1808608" y="3159071"/>
            <a:ext cx="330266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D5F049-3AB3-F0B5-B2F6-B07BCA2F2255}"/>
              </a:ext>
            </a:extLst>
          </p:cNvPr>
          <p:cNvCxnSpPr>
            <a:endCxn id="7" idx="0"/>
          </p:cNvCxnSpPr>
          <p:nvPr/>
        </p:nvCxnSpPr>
        <p:spPr bwMode="auto">
          <a:xfrm>
            <a:off x="1808608" y="3159071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9AFA7CE-AD01-7A1F-8B8D-897B62E6E5C5}"/>
              </a:ext>
            </a:extLst>
          </p:cNvPr>
          <p:cNvCxnSpPr>
            <a:endCxn id="8" idx="0"/>
          </p:cNvCxnSpPr>
          <p:nvPr/>
        </p:nvCxnSpPr>
        <p:spPr bwMode="auto">
          <a:xfrm>
            <a:off x="4121642" y="3159071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AE71A48-47EB-E153-C4B5-6DADEF38374B}"/>
              </a:ext>
            </a:extLst>
          </p:cNvPr>
          <p:cNvCxnSpPr>
            <a:endCxn id="9" idx="0"/>
          </p:cNvCxnSpPr>
          <p:nvPr/>
        </p:nvCxnSpPr>
        <p:spPr bwMode="auto">
          <a:xfrm>
            <a:off x="6302190" y="3159071"/>
            <a:ext cx="1" cy="2237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D49839-C91A-B717-9168-D8C33641F8E9}"/>
              </a:ext>
            </a:extLst>
          </p:cNvPr>
          <p:cNvCxnSpPr>
            <a:endCxn id="10" idx="0"/>
          </p:cNvCxnSpPr>
          <p:nvPr/>
        </p:nvCxnSpPr>
        <p:spPr bwMode="auto">
          <a:xfrm>
            <a:off x="8482741" y="3168596"/>
            <a:ext cx="1" cy="2142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402D40A-EFC2-80C9-F4B1-0A98F983871F}"/>
              </a:ext>
            </a:extLst>
          </p:cNvPr>
          <p:cNvCxnSpPr>
            <a:cxnSpLocks/>
          </p:cNvCxnSpPr>
          <p:nvPr/>
        </p:nvCxnSpPr>
        <p:spPr bwMode="auto">
          <a:xfrm>
            <a:off x="5111271" y="3159071"/>
            <a:ext cx="4877555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" name="Title 3">
            <a:extLst>
              <a:ext uri="{FF2B5EF4-FFF2-40B4-BE49-F238E27FC236}">
                <a16:creationId xmlns:a16="http://schemas.microsoft.com/office/drawing/2014/main" id="{F0357F0A-30F4-AD07-3A1F-02C7816931F2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anose="020B0600070205080204" pitchFamily="34" charset="-128"/>
                <a:cs typeface="+mj-cs"/>
              </a:rPr>
              <a:t>Business Suppor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F1D1EE-60E9-08CC-C2C9-60B9A4ADD7D2}"/>
              </a:ext>
            </a:extLst>
          </p:cNvPr>
          <p:cNvSpPr/>
          <p:nvPr/>
        </p:nvSpPr>
        <p:spPr>
          <a:xfrm>
            <a:off x="9271075" y="338282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Data Engine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Grade 10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  <a:endParaRPr lang="en-GB" sz="9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E6735D6-0D42-C9DE-5D58-99FA0F61555A}"/>
              </a:ext>
            </a:extLst>
          </p:cNvPr>
          <p:cNvCxnSpPr/>
          <p:nvPr/>
        </p:nvCxnSpPr>
        <p:spPr bwMode="auto">
          <a:xfrm>
            <a:off x="9986863" y="3171911"/>
            <a:ext cx="1" cy="2142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772048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7FBD14-8282-F615-BD9B-1C84830956A7}"/>
              </a:ext>
            </a:extLst>
          </p:cNvPr>
          <p:cNvCxnSpPr>
            <a:cxnSpLocks/>
          </p:cNvCxnSpPr>
          <p:nvPr/>
        </p:nvCxnSpPr>
        <p:spPr bwMode="auto">
          <a:xfrm>
            <a:off x="2393477" y="2783250"/>
            <a:ext cx="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2941157-2FBF-B720-1696-F42058BFF183}"/>
              </a:ext>
            </a:extLst>
          </p:cNvPr>
          <p:cNvSpPr/>
          <p:nvPr/>
        </p:nvSpPr>
        <p:spPr>
          <a:xfrm>
            <a:off x="2792807" y="331848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25F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B18A07-2B7D-D163-2469-A241802EE940}"/>
              </a:ext>
            </a:extLst>
          </p:cNvPr>
          <p:cNvSpPr/>
          <p:nvPr/>
        </p:nvSpPr>
        <p:spPr>
          <a:xfrm>
            <a:off x="4743339" y="331848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25F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DCFA84-FE08-83FD-6218-CD5254F5C092}"/>
              </a:ext>
            </a:extLst>
          </p:cNvPr>
          <p:cNvSpPr/>
          <p:nvPr/>
        </p:nvSpPr>
        <p:spPr>
          <a:xfrm>
            <a:off x="6693871" y="331848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21FTE </a:t>
            </a: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015661-58C0-8A94-F623-EB5D5FC3052B}"/>
              </a:ext>
            </a:extLst>
          </p:cNvPr>
          <p:cNvSpPr/>
          <p:nvPr/>
        </p:nvSpPr>
        <p:spPr>
          <a:xfrm>
            <a:off x="8644403" y="331848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18FTE</a:t>
            </a: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A357CA-C651-A219-2561-326F49CC3760}"/>
              </a:ext>
            </a:extLst>
          </p:cNvPr>
          <p:cNvSpPr/>
          <p:nvPr/>
        </p:nvSpPr>
        <p:spPr>
          <a:xfrm>
            <a:off x="842275" y="3318483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18F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0CBC81-BD3B-40B7-896B-3B9FE0D21605}"/>
              </a:ext>
            </a:extLst>
          </p:cNvPr>
          <p:cNvSpPr/>
          <p:nvPr/>
        </p:nvSpPr>
        <p:spPr>
          <a:xfrm>
            <a:off x="842275" y="4819236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25F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945C61-4F54-06D3-D589-2AA4B4383729}"/>
              </a:ext>
            </a:extLst>
          </p:cNvPr>
          <p:cNvSpPr/>
          <p:nvPr/>
        </p:nvSpPr>
        <p:spPr>
          <a:xfrm>
            <a:off x="2792806" y="4851785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1.0FTE</a:t>
            </a: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416459-1D19-49F0-003F-9288EA3D65C6}"/>
              </a:ext>
            </a:extLst>
          </p:cNvPr>
          <p:cNvSpPr/>
          <p:nvPr/>
        </p:nvSpPr>
        <p:spPr>
          <a:xfrm>
            <a:off x="4770767" y="4882782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1.0F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40F137-A0EA-8F13-ECA3-CED832F5CBA5}"/>
              </a:ext>
            </a:extLst>
          </p:cNvPr>
          <p:cNvSpPr/>
          <p:nvPr/>
        </p:nvSpPr>
        <p:spPr>
          <a:xfrm>
            <a:off x="6682423" y="4836287"/>
            <a:ext cx="1392217" cy="1038094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8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School Crossing Patrol Officer 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(Vacant)</a:t>
            </a:r>
          </a:p>
          <a:p>
            <a:pPr algn="ctr"/>
            <a:r>
              <a:rPr lang="en-US" sz="800" b="1" dirty="0">
                <a:latin typeface="Arial" pitchFamily="34" charset="0"/>
                <a:cs typeface="Arial" pitchFamily="34" charset="0"/>
              </a:rPr>
              <a:t>0.28FT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18F4005-09D2-5F65-9FEA-F30B3255E78B}"/>
              </a:ext>
            </a:extLst>
          </p:cNvPr>
          <p:cNvCxnSpPr>
            <a:cxnSpLocks/>
          </p:cNvCxnSpPr>
          <p:nvPr/>
        </p:nvCxnSpPr>
        <p:spPr bwMode="auto">
          <a:xfrm>
            <a:off x="1565811" y="2719792"/>
            <a:ext cx="780212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ED25A0C-15E3-B989-D229-522AA0AF8DB7}"/>
              </a:ext>
            </a:extLst>
          </p:cNvPr>
          <p:cNvCxnSpPr/>
          <p:nvPr/>
        </p:nvCxnSpPr>
        <p:spPr bwMode="auto">
          <a:xfrm>
            <a:off x="1565811" y="2719792"/>
            <a:ext cx="0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10B363F-080A-19EF-4FD4-5C06ACCBA21E}"/>
              </a:ext>
            </a:extLst>
          </p:cNvPr>
          <p:cNvCxnSpPr>
            <a:stCxn id="7" idx="0"/>
          </p:cNvCxnSpPr>
          <p:nvPr/>
        </p:nvCxnSpPr>
        <p:spPr bwMode="auto">
          <a:xfrm flipH="1" flipV="1">
            <a:off x="3488914" y="2719792"/>
            <a:ext cx="2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695ADC2-1F2D-D3C8-F577-A1AA05B8198F}"/>
              </a:ext>
            </a:extLst>
          </p:cNvPr>
          <p:cNvCxnSpPr>
            <a:stCxn id="8" idx="0"/>
          </p:cNvCxnSpPr>
          <p:nvPr/>
        </p:nvCxnSpPr>
        <p:spPr bwMode="auto">
          <a:xfrm flipH="1" flipV="1">
            <a:off x="5439447" y="2719792"/>
            <a:ext cx="1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C80146C-7134-C962-69FF-FAE8C1CADE42}"/>
              </a:ext>
            </a:extLst>
          </p:cNvPr>
          <p:cNvCxnSpPr>
            <a:stCxn id="9" idx="0"/>
          </p:cNvCxnSpPr>
          <p:nvPr/>
        </p:nvCxnSpPr>
        <p:spPr bwMode="auto">
          <a:xfrm flipH="1" flipV="1">
            <a:off x="7378531" y="2719792"/>
            <a:ext cx="11449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99FDED-6DDB-761C-16C0-09DD3E7CD6F7}"/>
              </a:ext>
            </a:extLst>
          </p:cNvPr>
          <p:cNvCxnSpPr>
            <a:stCxn id="10" idx="0"/>
          </p:cNvCxnSpPr>
          <p:nvPr/>
        </p:nvCxnSpPr>
        <p:spPr bwMode="auto">
          <a:xfrm flipH="1" flipV="1">
            <a:off x="9340511" y="2719792"/>
            <a:ext cx="1" cy="5986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D959801-C20C-57B4-4FD7-E282F7DEC191}"/>
              </a:ext>
            </a:extLst>
          </p:cNvPr>
          <p:cNvCxnSpPr/>
          <p:nvPr/>
        </p:nvCxnSpPr>
        <p:spPr bwMode="auto">
          <a:xfrm>
            <a:off x="6440894" y="2704294"/>
            <a:ext cx="0" cy="177471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52887E8-B5FC-3E35-2672-BEB5CAA93B33}"/>
              </a:ext>
            </a:extLst>
          </p:cNvPr>
          <p:cNvCxnSpPr>
            <a:stCxn id="18" idx="0"/>
          </p:cNvCxnSpPr>
          <p:nvPr/>
        </p:nvCxnSpPr>
        <p:spPr bwMode="auto">
          <a:xfrm flipH="1" flipV="1">
            <a:off x="7378531" y="4494509"/>
            <a:ext cx="1" cy="3417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48DFE3C-912F-1E78-68C7-C3B55AA92C5B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466876" y="4479011"/>
            <a:ext cx="1923103" cy="1549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3162E098-50CB-504A-4191-8FD415D51240}"/>
              </a:ext>
            </a:extLst>
          </p:cNvPr>
          <p:cNvCxnSpPr>
            <a:cxnSpLocks/>
            <a:stCxn id="17" idx="0"/>
          </p:cNvCxnSpPr>
          <p:nvPr/>
        </p:nvCxnSpPr>
        <p:spPr bwMode="auto">
          <a:xfrm flipV="1">
            <a:off x="5466876" y="4494509"/>
            <a:ext cx="0" cy="38827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5454F817-24D2-F10D-C146-36E0C5992539}"/>
              </a:ext>
            </a:extLst>
          </p:cNvPr>
          <p:cNvCxnSpPr/>
          <p:nvPr/>
        </p:nvCxnSpPr>
        <p:spPr bwMode="auto">
          <a:xfrm>
            <a:off x="2510725" y="2719792"/>
            <a:ext cx="0" cy="188320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2D17C4B7-7EE5-84B8-366A-405FD993EE99}"/>
              </a:ext>
            </a:extLst>
          </p:cNvPr>
          <p:cNvCxnSpPr>
            <a:cxnSpLocks/>
          </p:cNvCxnSpPr>
          <p:nvPr/>
        </p:nvCxnSpPr>
        <p:spPr bwMode="auto">
          <a:xfrm flipH="1">
            <a:off x="1538384" y="4602998"/>
            <a:ext cx="97234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E9CB24B-249B-FF38-29E5-8D01536542D6}"/>
              </a:ext>
            </a:extLst>
          </p:cNvPr>
          <p:cNvCxnSpPr>
            <a:cxnSpLocks/>
            <a:stCxn id="14" idx="0"/>
          </p:cNvCxnSpPr>
          <p:nvPr/>
        </p:nvCxnSpPr>
        <p:spPr bwMode="auto">
          <a:xfrm flipV="1">
            <a:off x="1538384" y="4602998"/>
            <a:ext cx="0" cy="216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585CF70-CE9E-0F97-2178-6CF9D333B9FE}"/>
              </a:ext>
            </a:extLst>
          </p:cNvPr>
          <p:cNvCxnSpPr>
            <a:cxnSpLocks/>
          </p:cNvCxnSpPr>
          <p:nvPr/>
        </p:nvCxnSpPr>
        <p:spPr bwMode="auto">
          <a:xfrm>
            <a:off x="2510725" y="4602998"/>
            <a:ext cx="97818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94365C6C-6180-BE76-22D4-8DCC953D9533}"/>
              </a:ext>
            </a:extLst>
          </p:cNvPr>
          <p:cNvCxnSpPr>
            <a:stCxn id="15" idx="0"/>
          </p:cNvCxnSpPr>
          <p:nvPr/>
        </p:nvCxnSpPr>
        <p:spPr bwMode="auto">
          <a:xfrm flipH="1" flipV="1">
            <a:off x="3488914" y="4602998"/>
            <a:ext cx="1" cy="2487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8" name="Title 3">
            <a:extLst>
              <a:ext uri="{FF2B5EF4-FFF2-40B4-BE49-F238E27FC236}">
                <a16:creationId xmlns:a16="http://schemas.microsoft.com/office/drawing/2014/main" id="{7829C25F-1E11-7CFA-2370-1AB6937DF218}"/>
              </a:ext>
            </a:extLst>
          </p:cNvPr>
          <p:cNvSpPr txBox="1">
            <a:spLocks/>
          </p:cNvSpPr>
          <p:nvPr/>
        </p:nvSpPr>
        <p:spPr bwMode="auto">
          <a:xfrm>
            <a:off x="89353" y="120207"/>
            <a:ext cx="3805443" cy="82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84006F"/>
                </a:solidFill>
                <a:latin typeface="Arial" charset="0"/>
                <a:ea typeface="MS PGothic" panose="020B0600070205080204" pitchFamily="34" charset="-128"/>
              </a:defRPr>
            </a:lvl5pPr>
            <a:lvl6pPr marL="439112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878260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1317389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756523" algn="l" rtl="0" fontAlgn="base">
              <a:spcBef>
                <a:spcPct val="0"/>
              </a:spcBef>
              <a:spcAft>
                <a:spcPct val="0"/>
              </a:spcAft>
              <a:defRPr sz="3417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MS PGothic" panose="020B0600070205080204" pitchFamily="34" charset="-128"/>
                <a:cs typeface="+mj-cs"/>
              </a:rPr>
              <a:t>School Crossing Patro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E1A241-4A1D-968E-9D07-96959CC877BA}"/>
              </a:ext>
            </a:extLst>
          </p:cNvPr>
          <p:cNvSpPr/>
          <p:nvPr/>
        </p:nvSpPr>
        <p:spPr>
          <a:xfrm>
            <a:off x="3922282" y="1316214"/>
            <a:ext cx="3034330" cy="861875"/>
          </a:xfrm>
          <a:prstGeom prst="rect">
            <a:avLst/>
          </a:prstGeom>
          <a:solidFill>
            <a:srgbClr val="9900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Infrastructure Manager</a:t>
            </a:r>
          </a:p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arde 15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98EA6E3-2234-8576-C5FD-7273EBEEACC4}"/>
              </a:ext>
            </a:extLst>
          </p:cNvPr>
          <p:cNvCxnSpPr>
            <a:stCxn id="2" idx="2"/>
          </p:cNvCxnSpPr>
          <p:nvPr/>
        </p:nvCxnSpPr>
        <p:spPr bwMode="auto">
          <a:xfrm>
            <a:off x="5439447" y="2178089"/>
            <a:ext cx="0" cy="54170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92399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6CF5B59DC21949B02D94CD70721762" ma:contentTypeVersion="13" ma:contentTypeDescription="Create a new document." ma:contentTypeScope="" ma:versionID="95e15e476a53aa93c23ab9ddfc78b148">
  <xsd:schema xmlns:xsd="http://www.w3.org/2001/XMLSchema" xmlns:xs="http://www.w3.org/2001/XMLSchema" xmlns:p="http://schemas.microsoft.com/office/2006/metadata/properties" xmlns:ns2="f2b78acb-a125-42ee-931d-35b42eaca4cf" xmlns:ns3="bd53f985-a00b-4557-8c1b-354272913df9" xmlns:ns4="317462e6-704c-4460-ad36-73f1c33138d3" targetNamespace="http://schemas.microsoft.com/office/2006/metadata/properties" ma:root="true" ma:fieldsID="1958c7001dbb061489cbe3646ec4ea05" ns2:_="" ns3:_="" ns4:_="">
    <xsd:import namespace="f2b78acb-a125-42ee-931d-35b42eaca4cf"/>
    <xsd:import namespace="bd53f985-a00b-4557-8c1b-354272913df9"/>
    <xsd:import namespace="317462e6-704c-4460-ad36-73f1c33138d3"/>
    <xsd:element name="properties">
      <xsd:complexType>
        <xsd:sequence>
          <xsd:element name="documentManagement">
            <xsd:complexType>
              <xsd:all>
                <xsd:element ref="ns2:Document_x0020_Description" minOccurs="0"/>
                <xsd:element ref="ns2:DocumentAuthor" minOccurs="0"/>
                <xsd:element ref="ns2:ProtectiveClassification" minOccurs="0"/>
                <xsd:element ref="ns2:febcb389c47c4530afe6acfa103de16c" minOccurs="0"/>
                <xsd:element ref="ns2:TaxCatchAll" minOccurs="0"/>
                <xsd:element ref="ns2:TaxCatchAllLabel" minOccurs="0"/>
                <xsd:element ref="ns2:l1c2f45cb913413195fefa0ed1a24d84" minOccurs="0"/>
                <xsd:element ref="ns2:TaxKeywordTaxHTField" minOccurs="0"/>
                <xsd:element ref="ns3:MediaServiceKeyPoint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4:SharedWithUsers" minOccurs="0"/>
                <xsd:element ref="ns4:SharedWithDetails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b78acb-a125-42ee-931d-35b42eaca4cf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8" nillable="true" ma:displayName="Document Description" ma:internalName="Document_x0020_Description">
      <xsd:simpleType>
        <xsd:restriction base="dms:Note">
          <xsd:maxLength value="255"/>
        </xsd:restriction>
      </xsd:simpleType>
    </xsd:element>
    <xsd:element name="DocumentAuthor" ma:index="9" nillable="true" ma:displayName="Primary Contact" ma:list="UserInfo" ma:SearchPeopleOnly="false" ma:SharePointGroup="0" ma:internalName="Document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tectiveClassification" ma:index="10" nillable="true" ma:displayName="Protective Marking" ma:default="NOT CLASSIFIED" ma:description="Protective Marking scheme for LBC is being reviewed and will be available at a later date. NOT CLASSIFIED means that no Protective Marking decision has been made." ma:format="Dropdown" ma:internalName="ProtectiveClassification">
      <xsd:simpleType>
        <xsd:restriction base="dms:Choice">
          <xsd:enumeration value="NOT CLASSIFIED"/>
        </xsd:restriction>
      </xsd:simpleType>
    </xsd:element>
    <xsd:element name="febcb389c47c4530afe6acfa103de16c" ma:index="11" nillable="true" ma:taxonomy="true" ma:internalName="febcb389c47c4530afe6acfa103de16c" ma:taxonomyFieldName="OrganisationalUnit" ma:displayName="Organisational Unit" ma:default="" ma:fieldId="{febcb389-c47c-4530-afe6-acfa103de16c}" ma:sspId="c265c3e7-f7ae-4ea0-b3f5-7c0024770d98" ma:termSetId="21787c9d-e40d-4e47-be76-3b424c150f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086023e3-225c-4ce8-bc15-43625d3d097d}" ma:internalName="TaxCatchAll" ma:showField="CatchAllData" ma:web="317462e6-704c-4460-ad36-73f1c33138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086023e3-225c-4ce8-bc15-43625d3d097d}" ma:internalName="TaxCatchAllLabel" ma:readOnly="true" ma:showField="CatchAllDataLabel" ma:web="317462e6-704c-4460-ad36-73f1c33138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1c2f45cb913413195fefa0ed1a24d84" ma:index="15" nillable="true" ma:taxonomy="true" ma:internalName="l1c2f45cb913413195fefa0ed1a24d84" ma:taxonomyFieldName="Activity" ma:displayName="Activity" ma:fieldId="{51c2f45c-b913-4131-95fe-fa0ed1a24d84}" ma:sspId="c265c3e7-f7ae-4ea0-b3f5-7c0024770d98" ma:termSetId="753275df-fc85-4ec7-8f6d-defd1dbad5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c265c3e7-f7ae-4ea0-b3f5-7c0024770d9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3f985-a00b-4557-8c1b-354272913df9" elementFormDefault="qualified">
    <xsd:import namespace="http://schemas.microsoft.com/office/2006/documentManagement/types"/>
    <xsd:import namespace="http://schemas.microsoft.com/office/infopath/2007/PartnerControls"/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c265c3e7-f7ae-4ea0-b3f5-7c0024770d9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3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7462e6-704c-4460-ad36-73f1c33138d3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12BCA384B5074CB2E2D04244552AF8" ma:contentTypeVersion="19" ma:contentTypeDescription="Create a new document." ma:contentTypeScope="" ma:versionID="a9a41a1fc0994881fbb11a1b179e9aa0">
  <xsd:schema xmlns:xsd="http://www.w3.org/2001/XMLSchema" xmlns:xs="http://www.w3.org/2001/XMLSchema" xmlns:p="http://schemas.microsoft.com/office/2006/metadata/properties" xmlns:ns1="http://schemas.microsoft.com/sharepoint/v3" xmlns:ns2="9c58e57b-b88b-4702-a373-220b4f5d47a9" xmlns:ns3="456d6118-be85-422f-b786-2ccd9d775758" targetNamespace="http://schemas.microsoft.com/office/2006/metadata/properties" ma:root="true" ma:fieldsID="7887795ac34fca4d05ae0968f9a33295" ns1:_="" ns2:_="" ns3:_="">
    <xsd:import namespace="http://schemas.microsoft.com/sharepoint/v3"/>
    <xsd:import namespace="9c58e57b-b88b-4702-a373-220b4f5d47a9"/>
    <xsd:import namespace="456d6118-be85-422f-b786-2ccd9d77575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SearchProperties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58e57b-b88b-4702-a373-220b4f5d47a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14334e8-6e35-4c86-b27f-50e4dea68236}" ma:internalName="TaxCatchAll" ma:showField="CatchAllData" ma:web="9c58e57b-b88b-4702-a373-220b4f5d47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d6118-be85-422f-b786-2ccd9d7757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42bb1f3-1a38-47a3-907d-1ed3ec3ebf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LongProperties xmlns="http://schemas.microsoft.com/office/2006/metadata/longPropertie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c58e57b-b88b-4702-a373-220b4f5d47a9" xsi:nil="true"/>
    <SharedWithUsers xmlns="9c58e57b-b88b-4702-a373-220b4f5d47a9">
      <UserInfo>
        <DisplayName>Williams, Neil</DisplayName>
        <AccountId>74</AccountId>
        <AccountType/>
      </UserInfo>
      <UserInfo>
        <DisplayName>Wheeler, Julie</DisplayName>
        <AccountId>57</AccountId>
        <AccountType/>
      </UserInfo>
    </SharedWithUsers>
    <lcf76f155ced4ddcb4097134ff3c332f xmlns="456d6118-be85-422f-b786-2ccd9d775758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0F9ED4-3AEB-49F6-B60F-85E9FB862A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b78acb-a125-42ee-931d-35b42eaca4cf"/>
    <ds:schemaRef ds:uri="bd53f985-a00b-4557-8c1b-354272913df9"/>
    <ds:schemaRef ds:uri="317462e6-704c-4460-ad36-73f1c33138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2114E2-4761-471E-8CC8-DC34ED1AF1F2}"/>
</file>

<file path=customXml/itemProps3.xml><?xml version="1.0" encoding="utf-8"?>
<ds:datastoreItem xmlns:ds="http://schemas.openxmlformats.org/officeDocument/2006/customXml" ds:itemID="{7AA4F4D6-7353-49B9-BEA5-E09E46F87D4E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37DBBA2C-E956-48CB-AB22-AD824CD2E562}">
  <ds:schemaRefs>
    <ds:schemaRef ds:uri="http://schemas.microsoft.com/office/2006/documentManagement/types"/>
    <ds:schemaRef ds:uri="http://schemas.microsoft.com/sharepoint/v4"/>
    <ds:schemaRef ds:uri="ef665293-1e59-4d70-8213-b37c1781a5ef"/>
    <ds:schemaRef ds:uri="addf6e6b-2369-4b51-a41a-ba2e525e3de3"/>
    <ds:schemaRef ds:uri="http://purl.org/dc/elements/1.1/"/>
    <ds:schemaRef ds:uri="f2b78acb-a125-42ee-931d-35b42eaca4cf"/>
    <ds:schemaRef ds:uri="bc4d49db-3e23-4be7-925f-f4dc43e30c10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$ListId:Documents;"/>
    <ds:schemaRef ds:uri="http://www.w3.org/XML/1998/namespace"/>
    <ds:schemaRef ds:uri="http://purl.org/dc/terms/"/>
    <ds:schemaRef ds:uri="317462e6-704c-4460-ad36-73f1c33138d3"/>
    <ds:schemaRef ds:uri="bd53f985-a00b-4557-8c1b-354272913df9"/>
  </ds:schemaRefs>
</ds:datastoreItem>
</file>

<file path=customXml/itemProps5.xml><?xml version="1.0" encoding="utf-8"?>
<ds:datastoreItem xmlns:ds="http://schemas.openxmlformats.org/officeDocument/2006/customXml" ds:itemID="{DCDC21AD-8803-4551-BDFF-9AA059477C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40</TotalTime>
  <Words>572</Words>
  <Application>Microsoft Office PowerPoint</Application>
  <PresentationFormat>Custom</PresentationFormat>
  <Paragraphs>334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Calibri</vt:lpstr>
      <vt:lpstr>Times</vt:lpstr>
      <vt:lpstr>ヒラギノ角ゴ Pro W3</vt:lpstr>
      <vt:lpstr>26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731-00319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T Structure</dc:title>
  <dc:creator>BILL MCCLEAN</dc:creator>
  <cp:keywords/>
  <cp:lastModifiedBy>Winspear, Simon</cp:lastModifiedBy>
  <cp:revision>170</cp:revision>
  <cp:lastPrinted>2024-06-12T09:14:05Z</cp:lastPrinted>
  <dcterms:created xsi:type="dcterms:W3CDTF">2010-06-21T16:36:04Z</dcterms:created>
  <dcterms:modified xsi:type="dcterms:W3CDTF">2024-09-02T09:0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ganisationalUnit">
    <vt:lpwstr>437;#Resources|5cb24046-c950-49c1-817b-99d8460d71f9</vt:lpwstr>
  </property>
  <property fmtid="{D5CDD505-2E9C-101B-9397-08002B2CF9AE}" pid="3" name="TaxKeyword">
    <vt:lpwstr/>
  </property>
  <property fmtid="{D5CDD505-2E9C-101B-9397-08002B2CF9AE}" pid="4" name="ProtectiveClassification">
    <vt:lpwstr>NOT CLASSIFIED</vt:lpwstr>
  </property>
  <property fmtid="{D5CDD505-2E9C-101B-9397-08002B2CF9AE}" pid="5" name="display_urn:schemas-microsoft-com:office:office#DocumentAuthor">
    <vt:lpwstr>Conroy, Danny</vt:lpwstr>
  </property>
  <property fmtid="{D5CDD505-2E9C-101B-9397-08002B2CF9AE}" pid="6" name="ContentTypeId">
    <vt:lpwstr>0x0101008A12BCA384B5074CB2E2D04244552AF8</vt:lpwstr>
  </property>
  <property fmtid="{D5CDD505-2E9C-101B-9397-08002B2CF9AE}" pid="7" name="MSTopic">
    <vt:lpwstr>95;#Structure Charts|acc4fb8c-0e07-4f4d-94ac-a21fe9c8c95b</vt:lpwstr>
  </property>
  <property fmtid="{D5CDD505-2E9C-101B-9397-08002B2CF9AE}" pid="8" name="Document Description">
    <vt:lpwstr>ELT Structure</vt:lpwstr>
  </property>
  <property fmtid="{D5CDD505-2E9C-101B-9397-08002B2CF9AE}" pid="9" name="Activity">
    <vt:lpwstr/>
  </property>
  <property fmtid="{D5CDD505-2E9C-101B-9397-08002B2CF9AE}" pid="10" name="l1c2f45cb913413195fefa0ed1a24d84">
    <vt:lpwstr/>
  </property>
  <property fmtid="{D5CDD505-2E9C-101B-9397-08002B2CF9AE}" pid="11" name="MS Topic">
    <vt:lpwstr>126;#Structure Chart|24ffb3ba-7a7e-451f-b012-84272a8dfc8e</vt:lpwstr>
  </property>
  <property fmtid="{D5CDD505-2E9C-101B-9397-08002B2CF9AE}" pid="12" name="MediaServiceImageTags">
    <vt:lpwstr/>
  </property>
</Properties>
</file>